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3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34.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35.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36.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tags/tag7.xml" ContentType="application/vnd.openxmlformats-officedocument.presentationml.tags+xml"/>
  <Override PartName="/ppt/notesSlides/notesSlide57.xml" ContentType="application/vnd.openxmlformats-officedocument.presentationml.notesSlide+xml"/>
  <Override PartName="/ppt/tags/tag8.xml" ContentType="application/vnd.openxmlformats-officedocument.presentationml.tags+xml"/>
  <Override PartName="/ppt/notesSlides/notesSlide58.xml" ContentType="application/vnd.openxmlformats-officedocument.presentationml.notesSlide+xml"/>
  <Override PartName="/ppt/tags/tag9.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1"/>
    <p:sldMasterId id="2147483671" r:id="rId2"/>
  </p:sldMasterIdLst>
  <p:notesMasterIdLst>
    <p:notesMasterId r:id="rId68"/>
  </p:notesMasterIdLst>
  <p:sldIdLst>
    <p:sldId id="583" r:id="rId3"/>
    <p:sldId id="584" r:id="rId4"/>
    <p:sldId id="585" r:id="rId5"/>
    <p:sldId id="586" r:id="rId6"/>
    <p:sldId id="587" r:id="rId7"/>
    <p:sldId id="578" r:id="rId8"/>
    <p:sldId id="579" r:id="rId9"/>
    <p:sldId id="528" r:id="rId10"/>
    <p:sldId id="529" r:id="rId11"/>
    <p:sldId id="530" r:id="rId12"/>
    <p:sldId id="531" r:id="rId13"/>
    <p:sldId id="532" r:id="rId14"/>
    <p:sldId id="563" r:id="rId15"/>
    <p:sldId id="533" r:id="rId16"/>
    <p:sldId id="534" r:id="rId17"/>
    <p:sldId id="535" r:id="rId18"/>
    <p:sldId id="536" r:id="rId19"/>
    <p:sldId id="537" r:id="rId20"/>
    <p:sldId id="538" r:id="rId21"/>
    <p:sldId id="556" r:id="rId22"/>
    <p:sldId id="539" r:id="rId23"/>
    <p:sldId id="540" r:id="rId24"/>
    <p:sldId id="541" r:id="rId25"/>
    <p:sldId id="542" r:id="rId26"/>
    <p:sldId id="543" r:id="rId27"/>
    <p:sldId id="544" r:id="rId28"/>
    <p:sldId id="545" r:id="rId29"/>
    <p:sldId id="577" r:id="rId30"/>
    <p:sldId id="505" r:id="rId31"/>
    <p:sldId id="555" r:id="rId32"/>
    <p:sldId id="546" r:id="rId33"/>
    <p:sldId id="547" r:id="rId34"/>
    <p:sldId id="548" r:id="rId35"/>
    <p:sldId id="549" r:id="rId36"/>
    <p:sldId id="550" r:id="rId37"/>
    <p:sldId id="552" r:id="rId38"/>
    <p:sldId id="551" r:id="rId39"/>
    <p:sldId id="553" r:id="rId40"/>
    <p:sldId id="557" r:id="rId41"/>
    <p:sldId id="558" r:id="rId42"/>
    <p:sldId id="580" r:id="rId43"/>
    <p:sldId id="581" r:id="rId44"/>
    <p:sldId id="559" r:id="rId45"/>
    <p:sldId id="560" r:id="rId46"/>
    <p:sldId id="561" r:id="rId47"/>
    <p:sldId id="562" r:id="rId48"/>
    <p:sldId id="564" r:id="rId49"/>
    <p:sldId id="565" r:id="rId50"/>
    <p:sldId id="566" r:id="rId51"/>
    <p:sldId id="567" r:id="rId52"/>
    <p:sldId id="568" r:id="rId53"/>
    <p:sldId id="569" r:id="rId54"/>
    <p:sldId id="570" r:id="rId55"/>
    <p:sldId id="571" r:id="rId56"/>
    <p:sldId id="572" r:id="rId57"/>
    <p:sldId id="573" r:id="rId58"/>
    <p:sldId id="574" r:id="rId59"/>
    <p:sldId id="575" r:id="rId60"/>
    <p:sldId id="289" r:id="rId61"/>
    <p:sldId id="582" r:id="rId62"/>
    <p:sldId id="527" r:id="rId63"/>
    <p:sldId id="576" r:id="rId64"/>
    <p:sldId id="588" r:id="rId65"/>
    <p:sldId id="589" r:id="rId66"/>
    <p:sldId id="590" r:id="rId67"/>
  </p:sldIdLst>
  <p:sldSz cx="12192000" cy="6858000"/>
  <p:notesSz cx="6858000" cy="9144000"/>
  <p:embeddedFontLst>
    <p:embeddedFont>
      <p:font typeface="Klinic Slab Bold" pitchFamily="50" charset="0"/>
      <p:regular r:id="rId69"/>
      <p:italic r:id="rId70"/>
    </p:embeddedFont>
    <p:embeddedFont>
      <p:font typeface="Palatino Linotype" panose="02040502050505030304" pitchFamily="18" charset="0"/>
      <p:regular r:id="rId71"/>
      <p:bold r:id="rId72"/>
      <p:italic r:id="rId73"/>
      <p:boldItalic r:id="rId74"/>
    </p:embeddedFont>
    <p:embeddedFont>
      <p:font typeface="Calibri" panose="020F0502020204030204" pitchFamily="34" charset="0"/>
      <p:regular r:id="rId75"/>
      <p:bold r:id="rId76"/>
      <p:italic r:id="rId77"/>
      <p:boldItalic r:id="rId78"/>
    </p:embeddedFont>
    <p:embeddedFont>
      <p:font typeface="Century Gothic" panose="020B0502020202020204" pitchFamily="34" charset="0"/>
      <p:regular r:id="rId79"/>
      <p:bold r:id="rId80"/>
      <p:italic r:id="rId81"/>
      <p:boldItalic r:id="rId82"/>
    </p:embeddedFont>
    <p:embeddedFont>
      <p:font typeface="Gilroy ExtraBold" panose="00000900000000000000" pitchFamily="50" charset="0"/>
      <p:bold r:id="rId83"/>
    </p:embeddedFont>
    <p:embeddedFont>
      <p:font typeface="Poppins SemiBold" panose="020B0604020202020204" charset="0"/>
      <p:bold r:id="rId84"/>
      <p:boldItalic r:id="rId85"/>
    </p:embeddedFont>
    <p:embeddedFont>
      <p:font typeface="Gilroy Bold" panose="00000800000000000000" pitchFamily="50" charset="0"/>
      <p:bold r:id="rId86"/>
    </p:embeddedFont>
    <p:embeddedFont>
      <p:font typeface="Arial Black" panose="020B0A04020102020204" pitchFamily="34" charset="0"/>
      <p:bold r:id="rId87"/>
    </p:embeddedFont>
    <p:embeddedFont>
      <p:font typeface="Klinic Slab Book" pitchFamily="50" charset="0"/>
      <p:regular r:id="rId88"/>
      <p:italic r:id="rId89"/>
    </p:embeddedFont>
    <p:embeddedFont>
      <p:font typeface="Gilroy SemiBold" panose="00000700000000000000" pitchFamily="50" charset="0"/>
      <p:bold r:id="rId90"/>
    </p:embeddedFont>
    <p:embeddedFont>
      <p:font typeface="Source Sans Pro Light" panose="020B0604020202020204" charset="0"/>
      <p:regular r:id="rId91"/>
      <p:italic r:id="rId92"/>
    </p:embeddedFont>
    <p:embeddedFont>
      <p:font typeface="Klinic Slab Medium" pitchFamily="50" charset="0"/>
      <p:regular r:id="rId93"/>
      <p:italic r:id="rId94"/>
    </p:embeddedFont>
    <p:embeddedFont>
      <p:font typeface="Gilroy SemiBold Italic" panose="00000700000000000000" pitchFamily="50" charset="0"/>
      <p:bold r:id="rId95"/>
    </p:embeddedFont>
  </p:embeddedFontLst>
  <p:custDataLst>
    <p:tags r:id="rId9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7B2E157-DDD7-43E3-98D8-E08D2746BE40}">
          <p14:sldIdLst>
            <p14:sldId id="583"/>
            <p14:sldId id="584"/>
            <p14:sldId id="585"/>
            <p14:sldId id="586"/>
            <p14:sldId id="587"/>
            <p14:sldId id="578"/>
            <p14:sldId id="579"/>
            <p14:sldId id="528"/>
            <p14:sldId id="529"/>
            <p14:sldId id="530"/>
            <p14:sldId id="531"/>
            <p14:sldId id="532"/>
            <p14:sldId id="563"/>
            <p14:sldId id="533"/>
            <p14:sldId id="534"/>
            <p14:sldId id="535"/>
            <p14:sldId id="536"/>
            <p14:sldId id="537"/>
            <p14:sldId id="538"/>
            <p14:sldId id="556"/>
            <p14:sldId id="539"/>
            <p14:sldId id="540"/>
            <p14:sldId id="541"/>
            <p14:sldId id="542"/>
            <p14:sldId id="543"/>
            <p14:sldId id="544"/>
            <p14:sldId id="545"/>
            <p14:sldId id="577"/>
            <p14:sldId id="505"/>
            <p14:sldId id="555"/>
            <p14:sldId id="546"/>
            <p14:sldId id="547"/>
            <p14:sldId id="548"/>
            <p14:sldId id="549"/>
            <p14:sldId id="550"/>
            <p14:sldId id="552"/>
            <p14:sldId id="551"/>
            <p14:sldId id="553"/>
            <p14:sldId id="557"/>
            <p14:sldId id="558"/>
            <p14:sldId id="580"/>
            <p14:sldId id="581"/>
            <p14:sldId id="559"/>
            <p14:sldId id="560"/>
            <p14:sldId id="561"/>
            <p14:sldId id="562"/>
            <p14:sldId id="564"/>
            <p14:sldId id="565"/>
            <p14:sldId id="566"/>
            <p14:sldId id="567"/>
            <p14:sldId id="568"/>
            <p14:sldId id="569"/>
            <p14:sldId id="570"/>
            <p14:sldId id="571"/>
            <p14:sldId id="572"/>
            <p14:sldId id="573"/>
            <p14:sldId id="574"/>
            <p14:sldId id="575"/>
            <p14:sldId id="289"/>
            <p14:sldId id="582"/>
            <p14:sldId id="527"/>
            <p14:sldId id="576"/>
            <p14:sldId id="588"/>
            <p14:sldId id="589"/>
            <p14:sldId id="59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88C240"/>
    <a:srgbClr val="CF7128"/>
    <a:srgbClr val="061E44"/>
    <a:srgbClr val="6AC1A6"/>
    <a:srgbClr val="1E575C"/>
    <a:srgbClr val="E7EAEA"/>
    <a:srgbClr val="CCD1D2"/>
    <a:srgbClr val="1E345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5032" autoAdjust="0"/>
    <p:restoredTop sz="58254" autoAdjust="0"/>
  </p:normalViewPr>
  <p:slideViewPr>
    <p:cSldViewPr snapToGrid="0">
      <p:cViewPr varScale="1">
        <p:scale>
          <a:sx n="54" d="100"/>
          <a:sy n="54" d="100"/>
        </p:scale>
        <p:origin x="1266" y="60"/>
      </p:cViewPr>
      <p:guideLst/>
    </p:cSldViewPr>
  </p:slideViewPr>
  <p:notesTextViewPr>
    <p:cViewPr>
      <p:scale>
        <a:sx n="150" d="100"/>
        <a:sy n="150" d="100"/>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slide" Target="slides/slide61.xml"/><Relationship Id="rId68" Type="http://schemas.openxmlformats.org/officeDocument/2006/relationships/notesMaster" Target="notesMasters/notesMaster1.xml"/><Relationship Id="rId76" Type="http://schemas.openxmlformats.org/officeDocument/2006/relationships/font" Target="fonts/font8.fntdata"/><Relationship Id="rId84" Type="http://schemas.openxmlformats.org/officeDocument/2006/relationships/font" Target="fonts/font16.fntdata"/><Relationship Id="rId89" Type="http://schemas.openxmlformats.org/officeDocument/2006/relationships/font" Target="fonts/font21.fntdata"/><Relationship Id="rId97" Type="http://schemas.openxmlformats.org/officeDocument/2006/relationships/presProps" Target="presProps.xml"/><Relationship Id="rId7" Type="http://schemas.openxmlformats.org/officeDocument/2006/relationships/slide" Target="slides/slide5.xml"/><Relationship Id="rId71" Type="http://schemas.openxmlformats.org/officeDocument/2006/relationships/font" Target="fonts/font3.fntdata"/><Relationship Id="rId92" Type="http://schemas.openxmlformats.org/officeDocument/2006/relationships/font" Target="fonts/font24.fntdata"/><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slide" Target="slides/slide64.xml"/><Relationship Id="rId74" Type="http://schemas.openxmlformats.org/officeDocument/2006/relationships/font" Target="fonts/font6.fntdata"/><Relationship Id="rId79" Type="http://schemas.openxmlformats.org/officeDocument/2006/relationships/font" Target="fonts/font11.fntdata"/><Relationship Id="rId87" Type="http://schemas.openxmlformats.org/officeDocument/2006/relationships/font" Target="fonts/font19.fntdata"/><Relationship Id="rId5" Type="http://schemas.openxmlformats.org/officeDocument/2006/relationships/slide" Target="slides/slide3.xml"/><Relationship Id="rId61" Type="http://schemas.openxmlformats.org/officeDocument/2006/relationships/slide" Target="slides/slide59.xml"/><Relationship Id="rId82" Type="http://schemas.openxmlformats.org/officeDocument/2006/relationships/font" Target="fonts/font14.fntdata"/><Relationship Id="rId90" Type="http://schemas.openxmlformats.org/officeDocument/2006/relationships/font" Target="fonts/font22.fntdata"/><Relationship Id="rId95" Type="http://schemas.openxmlformats.org/officeDocument/2006/relationships/font" Target="fonts/font27.fntdata"/><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font" Target="fonts/font1.fntdata"/><Relationship Id="rId77" Type="http://schemas.openxmlformats.org/officeDocument/2006/relationships/font" Target="fonts/font9.fntdata"/><Relationship Id="rId100" Type="http://schemas.openxmlformats.org/officeDocument/2006/relationships/tableStyles" Target="tableStyle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font" Target="fonts/font4.fntdata"/><Relationship Id="rId80" Type="http://schemas.openxmlformats.org/officeDocument/2006/relationships/font" Target="fonts/font12.fntdata"/><Relationship Id="rId85" Type="http://schemas.openxmlformats.org/officeDocument/2006/relationships/font" Target="fonts/font17.fntdata"/><Relationship Id="rId93" Type="http://schemas.openxmlformats.org/officeDocument/2006/relationships/font" Target="fonts/font25.fntdata"/><Relationship Id="rId98" Type="http://schemas.openxmlformats.org/officeDocument/2006/relationships/viewProps" Target="view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font" Target="fonts/font2.fntdata"/><Relationship Id="rId75" Type="http://schemas.openxmlformats.org/officeDocument/2006/relationships/font" Target="fonts/font7.fntdata"/><Relationship Id="rId83" Type="http://schemas.openxmlformats.org/officeDocument/2006/relationships/font" Target="fonts/font15.fntdata"/><Relationship Id="rId88" Type="http://schemas.openxmlformats.org/officeDocument/2006/relationships/font" Target="fonts/font20.fntdata"/><Relationship Id="rId91" Type="http://schemas.openxmlformats.org/officeDocument/2006/relationships/font" Target="fonts/font23.fntdata"/><Relationship Id="rId96"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font" Target="fonts/font5.fntdata"/><Relationship Id="rId78" Type="http://schemas.openxmlformats.org/officeDocument/2006/relationships/font" Target="fonts/font10.fntdata"/><Relationship Id="rId81" Type="http://schemas.openxmlformats.org/officeDocument/2006/relationships/font" Target="fonts/font13.fntdata"/><Relationship Id="rId86" Type="http://schemas.openxmlformats.org/officeDocument/2006/relationships/font" Target="fonts/font18.fntdata"/><Relationship Id="rId94" Type="http://schemas.openxmlformats.org/officeDocument/2006/relationships/font" Target="fonts/font26.fntdata"/><Relationship Id="rId9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50AD-4FC9-A2D3-F0D0A4C5C653}"/>
              </c:ext>
            </c:extLst>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2-50AD-4FC9-A2D3-F0D0A4C5C653}"/>
              </c:ext>
            </c:extLst>
          </c:dPt>
          <c:dPt>
            <c:idx val="2"/>
            <c:bubble3D val="0"/>
            <c:spPr>
              <a:solidFill>
                <a:srgbClr val="1E575C"/>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50AD-4FC9-A2D3-F0D0A4C5C653}"/>
              </c:ext>
            </c:extLst>
          </c:dPt>
          <c:dPt>
            <c:idx val="3"/>
            <c:bubble3D val="0"/>
            <c:spPr>
              <a:solidFill>
                <a:srgbClr val="6AC1A6"/>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4-50AD-4FC9-A2D3-F0D0A4C5C653}"/>
              </c:ext>
            </c:extLst>
          </c:dPt>
          <c:dPt>
            <c:idx val="4"/>
            <c:bubble3D val="0"/>
            <c:spPr>
              <a:solidFill>
                <a:srgbClr val="CF7128"/>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50AD-4FC9-A2D3-F0D0A4C5C653}"/>
              </c:ext>
            </c:extLst>
          </c:dPt>
          <c:dLbls>
            <c:dLbl>
              <c:idx val="0"/>
              <c:layout>
                <c:manualLayout>
                  <c:x val="1.6900676027041081E-2"/>
                  <c:y val="5.2903762189951929E-2"/>
                </c:manualLayout>
              </c:layout>
              <c:showLegendKey val="0"/>
              <c:showVal val="0"/>
              <c:showCatName val="0"/>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1-50AD-4FC9-A2D3-F0D0A4C5C653}"/>
                </c:ext>
              </c:extLst>
            </c:dLbl>
            <c:dLbl>
              <c:idx val="1"/>
              <c:layout>
                <c:manualLayout>
                  <c:x val="0"/>
                  <c:y val="0"/>
                </c:manualLayout>
              </c:layout>
              <c:showLegendKey val="0"/>
              <c:showVal val="0"/>
              <c:showCatName val="0"/>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2-50AD-4FC9-A2D3-F0D0A4C5C653}"/>
                </c:ext>
              </c:extLst>
            </c:dLbl>
            <c:spPr>
              <a:noFill/>
              <a:ln>
                <a:noFill/>
              </a:ln>
              <a:effectLst/>
            </c:spPr>
            <c:txPr>
              <a:bodyPr rot="0" spcFirstLastPara="1" vertOverflow="ellipsis" vert="horz" wrap="square" lIns="38100" tIns="19050" rIns="38100" bIns="19050" anchor="ctr" anchorCtr="1">
                <a:spAutoFit/>
              </a:bodyPr>
              <a:lstStyle/>
              <a:p>
                <a:pPr>
                  <a:defRPr sz="3200" b="1" i="0" u="none" strike="noStrike" kern="1200" baseline="0">
                    <a:solidFill>
                      <a:schemeClr val="lt1"/>
                    </a:solidFill>
                    <a:latin typeface="Century Gothic" panose="020B0502020202020204" pitchFamily="34" charset="0"/>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6</c:f>
              <c:strCache>
                <c:ptCount val="5"/>
                <c:pt idx="0">
                  <c:v>Payment History</c:v>
                </c:pt>
                <c:pt idx="1">
                  <c:v>Amounts Owed</c:v>
                </c:pt>
                <c:pt idx="2">
                  <c:v>Length of Credit History</c:v>
                </c:pt>
                <c:pt idx="3">
                  <c:v>New Credit</c:v>
                </c:pt>
                <c:pt idx="4">
                  <c:v>Credit Mix</c:v>
                </c:pt>
              </c:strCache>
            </c:strRef>
          </c:cat>
          <c:val>
            <c:numRef>
              <c:f>Sheet1!$B$2:$B$6</c:f>
              <c:numCache>
                <c:formatCode>0%</c:formatCode>
                <c:ptCount val="5"/>
                <c:pt idx="0">
                  <c:v>0.35</c:v>
                </c:pt>
                <c:pt idx="1">
                  <c:v>0.3</c:v>
                </c:pt>
                <c:pt idx="2">
                  <c:v>0.15</c:v>
                </c:pt>
                <c:pt idx="3">
                  <c:v>0.1</c:v>
                </c:pt>
                <c:pt idx="4">
                  <c:v>0.1</c:v>
                </c:pt>
              </c:numCache>
            </c:numRef>
          </c:val>
          <c:extLst>
            <c:ext xmlns:c16="http://schemas.microsoft.com/office/drawing/2014/chart" uri="{C3380CC4-5D6E-409C-BE32-E72D297353CC}">
              <c16:uniqueId val="{00000000-50AD-4FC9-A2D3-F0D0A4C5C653}"/>
            </c:ext>
          </c:extLst>
        </c:ser>
        <c:dLbls>
          <c:showLegendKey val="0"/>
          <c:showVal val="0"/>
          <c:showCatName val="0"/>
          <c:showSerName val="0"/>
          <c:showPercent val="1"/>
          <c:showBubbleSize val="0"/>
          <c:showLeaderLines val="1"/>
        </c:dLbls>
        <c:firstSliceAng val="0"/>
        <c:holeSize val="5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50AD-4FC9-A2D3-F0D0A4C5C653}"/>
              </c:ext>
            </c:extLst>
          </c:dPt>
          <c:dPt>
            <c:idx val="1"/>
            <c:bubble3D val="0"/>
            <c:spPr>
              <a:solidFill>
                <a:srgbClr val="061E4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2-50AD-4FC9-A2D3-F0D0A4C5C653}"/>
              </c:ext>
            </c:extLst>
          </c:dPt>
          <c:dPt>
            <c:idx val="2"/>
            <c:bubble3D val="0"/>
            <c:spPr>
              <a:solidFill>
                <a:srgbClr val="061E4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193B-4A5D-8C3C-E66C829C82BC}"/>
              </c:ext>
            </c:extLst>
          </c:dPt>
          <c:dPt>
            <c:idx val="3"/>
            <c:bubble3D val="0"/>
            <c:spPr>
              <a:solidFill>
                <a:srgbClr val="061E4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193B-4A5D-8C3C-E66C829C82BC}"/>
              </c:ext>
            </c:extLst>
          </c:dPt>
          <c:dPt>
            <c:idx val="4"/>
            <c:bubble3D val="0"/>
            <c:spPr>
              <a:solidFill>
                <a:srgbClr val="061E4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9-193B-4A5D-8C3C-E66C829C82BC}"/>
              </c:ext>
            </c:extLst>
          </c:dPt>
          <c:dLbls>
            <c:dLbl>
              <c:idx val="0"/>
              <c:layout>
                <c:manualLayout>
                  <c:x val="1.6900676027041081E-2"/>
                  <c:y val="5.2903762189951929E-2"/>
                </c:manualLayout>
              </c:layout>
              <c:showLegendKey val="0"/>
              <c:showVal val="0"/>
              <c:showCatName val="0"/>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1-50AD-4FC9-A2D3-F0D0A4C5C653}"/>
                </c:ext>
              </c:extLst>
            </c:dLbl>
            <c:dLbl>
              <c:idx val="1"/>
              <c:delete val="1"/>
              <c:extLst>
                <c:ext xmlns:c15="http://schemas.microsoft.com/office/drawing/2012/chart" uri="{CE6537A1-D6FC-4f65-9D91-7224C49458BB}"/>
                <c:ext xmlns:c16="http://schemas.microsoft.com/office/drawing/2014/chart" uri="{C3380CC4-5D6E-409C-BE32-E72D297353CC}">
                  <c16:uniqueId val="{00000002-50AD-4FC9-A2D3-F0D0A4C5C653}"/>
                </c:ext>
              </c:extLst>
            </c:dLbl>
            <c:dLbl>
              <c:idx val="2"/>
              <c:delete val="1"/>
              <c:extLst>
                <c:ext xmlns:c15="http://schemas.microsoft.com/office/drawing/2012/chart" uri="{CE6537A1-D6FC-4f65-9D91-7224C49458BB}"/>
                <c:ext xmlns:c16="http://schemas.microsoft.com/office/drawing/2014/chart" uri="{C3380CC4-5D6E-409C-BE32-E72D297353CC}">
                  <c16:uniqueId val="{00000005-193B-4A5D-8C3C-E66C829C82BC}"/>
                </c:ext>
              </c:extLst>
            </c:dLbl>
            <c:dLbl>
              <c:idx val="3"/>
              <c:delete val="1"/>
              <c:extLst>
                <c:ext xmlns:c15="http://schemas.microsoft.com/office/drawing/2012/chart" uri="{CE6537A1-D6FC-4f65-9D91-7224C49458BB}"/>
                <c:ext xmlns:c16="http://schemas.microsoft.com/office/drawing/2014/chart" uri="{C3380CC4-5D6E-409C-BE32-E72D297353CC}">
                  <c16:uniqueId val="{00000007-193B-4A5D-8C3C-E66C829C82BC}"/>
                </c:ext>
              </c:extLst>
            </c:dLbl>
            <c:dLbl>
              <c:idx val="4"/>
              <c:delete val="1"/>
              <c:extLst>
                <c:ext xmlns:c15="http://schemas.microsoft.com/office/drawing/2012/chart" uri="{CE6537A1-D6FC-4f65-9D91-7224C49458BB}"/>
                <c:ext xmlns:c16="http://schemas.microsoft.com/office/drawing/2014/chart" uri="{C3380CC4-5D6E-409C-BE32-E72D297353CC}">
                  <c16:uniqueId val="{00000009-193B-4A5D-8C3C-E66C829C82BC}"/>
                </c:ext>
              </c:extLst>
            </c:dLbl>
            <c:spPr>
              <a:noFill/>
              <a:ln>
                <a:noFill/>
              </a:ln>
              <a:effectLst/>
            </c:spPr>
            <c:txPr>
              <a:bodyPr rot="0" spcFirstLastPara="1" vertOverflow="ellipsis" vert="horz" wrap="square" lIns="38100" tIns="19050" rIns="38100" bIns="19050" anchor="ctr" anchorCtr="1">
                <a:spAutoFit/>
              </a:bodyPr>
              <a:lstStyle/>
              <a:p>
                <a:pPr>
                  <a:defRPr sz="3200" b="1" i="0" u="none" strike="noStrike" kern="1200" baseline="0">
                    <a:solidFill>
                      <a:schemeClr val="lt1"/>
                    </a:solidFill>
                    <a:latin typeface="Century Gothic" panose="020B0502020202020204" pitchFamily="34" charset="0"/>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Payment History</c:v>
                </c:pt>
                <c:pt idx="1">
                  <c:v>Amounts Owed</c:v>
                </c:pt>
                <c:pt idx="2">
                  <c:v>Length of Credit History</c:v>
                </c:pt>
                <c:pt idx="3">
                  <c:v>New Credit</c:v>
                </c:pt>
                <c:pt idx="4">
                  <c:v>Credit Mix</c:v>
                </c:pt>
              </c:strCache>
            </c:strRef>
          </c:cat>
          <c:val>
            <c:numRef>
              <c:f>Sheet1!$B$2:$B$6</c:f>
              <c:numCache>
                <c:formatCode>0%</c:formatCode>
                <c:ptCount val="5"/>
                <c:pt idx="0">
                  <c:v>0.35</c:v>
                </c:pt>
                <c:pt idx="1">
                  <c:v>0.3</c:v>
                </c:pt>
                <c:pt idx="2">
                  <c:v>0.15</c:v>
                </c:pt>
                <c:pt idx="3">
                  <c:v>0.1</c:v>
                </c:pt>
                <c:pt idx="4">
                  <c:v>0.1</c:v>
                </c:pt>
              </c:numCache>
            </c:numRef>
          </c:val>
          <c:extLst>
            <c:ext xmlns:c16="http://schemas.microsoft.com/office/drawing/2014/chart" uri="{C3380CC4-5D6E-409C-BE32-E72D297353CC}">
              <c16:uniqueId val="{00000000-50AD-4FC9-A2D3-F0D0A4C5C653}"/>
            </c:ext>
          </c:extLst>
        </c:ser>
        <c:dLbls>
          <c:showLegendKey val="0"/>
          <c:showVal val="0"/>
          <c:showCatName val="0"/>
          <c:showSerName val="0"/>
          <c:showPercent val="1"/>
          <c:showBubbleSize val="0"/>
          <c:showLeaderLines val="1"/>
        </c:dLbls>
        <c:firstSliceAng val="0"/>
        <c:holeSize val="5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rgbClr val="061E4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50AD-4FC9-A2D3-F0D0A4C5C653}"/>
              </c:ext>
            </c:extLst>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2-50AD-4FC9-A2D3-F0D0A4C5C653}"/>
              </c:ext>
            </c:extLst>
          </c:dPt>
          <c:dPt>
            <c:idx val="2"/>
            <c:bubble3D val="0"/>
            <c:spPr>
              <a:solidFill>
                <a:srgbClr val="061E4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B7F9-4343-B1F8-2D981775495E}"/>
              </c:ext>
            </c:extLst>
          </c:dPt>
          <c:dPt>
            <c:idx val="3"/>
            <c:bubble3D val="0"/>
            <c:spPr>
              <a:solidFill>
                <a:srgbClr val="061E4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B7F9-4343-B1F8-2D981775495E}"/>
              </c:ext>
            </c:extLst>
          </c:dPt>
          <c:dPt>
            <c:idx val="4"/>
            <c:bubble3D val="0"/>
            <c:spPr>
              <a:solidFill>
                <a:srgbClr val="061E4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9-B7F9-4343-B1F8-2D981775495E}"/>
              </c:ext>
            </c:extLst>
          </c:dPt>
          <c:dLbls>
            <c:dLbl>
              <c:idx val="0"/>
              <c:delete val="1"/>
              <c:extLst>
                <c:ext xmlns:c15="http://schemas.microsoft.com/office/drawing/2012/chart" uri="{CE6537A1-D6FC-4f65-9D91-7224C49458BB}"/>
                <c:ext xmlns:c16="http://schemas.microsoft.com/office/drawing/2014/chart" uri="{C3380CC4-5D6E-409C-BE32-E72D297353CC}">
                  <c16:uniqueId val="{00000001-50AD-4FC9-A2D3-F0D0A4C5C653}"/>
                </c:ext>
              </c:extLst>
            </c:dLbl>
            <c:dLbl>
              <c:idx val="1"/>
              <c:layout>
                <c:manualLayout>
                  <c:x val="0"/>
                  <c:y val="0"/>
                </c:manualLayout>
              </c:layout>
              <c:showLegendKey val="0"/>
              <c:showVal val="0"/>
              <c:showCatName val="0"/>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2-50AD-4FC9-A2D3-F0D0A4C5C653}"/>
                </c:ext>
              </c:extLst>
            </c:dLbl>
            <c:dLbl>
              <c:idx val="2"/>
              <c:delete val="1"/>
              <c:extLst>
                <c:ext xmlns:c15="http://schemas.microsoft.com/office/drawing/2012/chart" uri="{CE6537A1-D6FC-4f65-9D91-7224C49458BB}"/>
                <c:ext xmlns:c16="http://schemas.microsoft.com/office/drawing/2014/chart" uri="{C3380CC4-5D6E-409C-BE32-E72D297353CC}">
                  <c16:uniqueId val="{00000005-B7F9-4343-B1F8-2D981775495E}"/>
                </c:ext>
              </c:extLst>
            </c:dLbl>
            <c:dLbl>
              <c:idx val="3"/>
              <c:delete val="1"/>
              <c:extLst>
                <c:ext xmlns:c15="http://schemas.microsoft.com/office/drawing/2012/chart" uri="{CE6537A1-D6FC-4f65-9D91-7224C49458BB}"/>
                <c:ext xmlns:c16="http://schemas.microsoft.com/office/drawing/2014/chart" uri="{C3380CC4-5D6E-409C-BE32-E72D297353CC}">
                  <c16:uniqueId val="{00000007-B7F9-4343-B1F8-2D981775495E}"/>
                </c:ext>
              </c:extLst>
            </c:dLbl>
            <c:dLbl>
              <c:idx val="4"/>
              <c:delete val="1"/>
              <c:extLst>
                <c:ext xmlns:c15="http://schemas.microsoft.com/office/drawing/2012/chart" uri="{CE6537A1-D6FC-4f65-9D91-7224C49458BB}"/>
                <c:ext xmlns:c16="http://schemas.microsoft.com/office/drawing/2014/chart" uri="{C3380CC4-5D6E-409C-BE32-E72D297353CC}">
                  <c16:uniqueId val="{00000009-B7F9-4343-B1F8-2D981775495E}"/>
                </c:ext>
              </c:extLst>
            </c:dLbl>
            <c:spPr>
              <a:noFill/>
              <a:ln>
                <a:noFill/>
              </a:ln>
              <a:effectLst/>
            </c:spPr>
            <c:txPr>
              <a:bodyPr rot="0" spcFirstLastPara="1" vertOverflow="ellipsis" vert="horz" wrap="square" lIns="38100" tIns="19050" rIns="38100" bIns="19050" anchor="ctr" anchorCtr="1">
                <a:spAutoFit/>
              </a:bodyPr>
              <a:lstStyle/>
              <a:p>
                <a:pPr>
                  <a:defRPr sz="3200" b="1" i="0" u="none" strike="noStrike" kern="1200" baseline="0">
                    <a:solidFill>
                      <a:schemeClr val="lt1"/>
                    </a:solidFill>
                    <a:latin typeface="Century Gothic" panose="020B0502020202020204" pitchFamily="34" charset="0"/>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Payment History</c:v>
                </c:pt>
                <c:pt idx="1">
                  <c:v>Amounts Owed</c:v>
                </c:pt>
                <c:pt idx="2">
                  <c:v>Length of Credit History</c:v>
                </c:pt>
                <c:pt idx="3">
                  <c:v>New Credit</c:v>
                </c:pt>
                <c:pt idx="4">
                  <c:v>Credit Mix</c:v>
                </c:pt>
              </c:strCache>
            </c:strRef>
          </c:cat>
          <c:val>
            <c:numRef>
              <c:f>Sheet1!$B$2:$B$6</c:f>
              <c:numCache>
                <c:formatCode>0%</c:formatCode>
                <c:ptCount val="5"/>
                <c:pt idx="0">
                  <c:v>0.35</c:v>
                </c:pt>
                <c:pt idx="1">
                  <c:v>0.3</c:v>
                </c:pt>
                <c:pt idx="2">
                  <c:v>0.15</c:v>
                </c:pt>
                <c:pt idx="3">
                  <c:v>0.1</c:v>
                </c:pt>
                <c:pt idx="4">
                  <c:v>0.1</c:v>
                </c:pt>
              </c:numCache>
            </c:numRef>
          </c:val>
          <c:extLst>
            <c:ext xmlns:c16="http://schemas.microsoft.com/office/drawing/2014/chart" uri="{C3380CC4-5D6E-409C-BE32-E72D297353CC}">
              <c16:uniqueId val="{00000000-50AD-4FC9-A2D3-F0D0A4C5C653}"/>
            </c:ext>
          </c:extLst>
        </c:ser>
        <c:dLbls>
          <c:showLegendKey val="0"/>
          <c:showVal val="0"/>
          <c:showCatName val="0"/>
          <c:showSerName val="0"/>
          <c:showPercent val="1"/>
          <c:showBubbleSize val="0"/>
          <c:showLeaderLines val="1"/>
        </c:dLbls>
        <c:firstSliceAng val="0"/>
        <c:holeSize val="5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spPr>
            <a:solidFill>
              <a:srgbClr val="061E44"/>
            </a:solidFill>
            <a:ln>
              <a:noFill/>
            </a:ln>
          </c:spPr>
          <c:dPt>
            <c:idx val="0"/>
            <c:bubble3D val="0"/>
            <c:spPr>
              <a:solidFill>
                <a:srgbClr val="061E4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50AD-4FC9-A2D3-F0D0A4C5C653}"/>
              </c:ext>
            </c:extLst>
          </c:dPt>
          <c:dPt>
            <c:idx val="1"/>
            <c:bubble3D val="0"/>
            <c:spPr>
              <a:solidFill>
                <a:srgbClr val="061E4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2-50AD-4FC9-A2D3-F0D0A4C5C653}"/>
              </c:ext>
            </c:extLst>
          </c:dPt>
          <c:dPt>
            <c:idx val="2"/>
            <c:bubble3D val="0"/>
            <c:spPr>
              <a:solidFill>
                <a:srgbClr val="1E575C"/>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B7F9-4343-B1F8-2D981775495E}"/>
              </c:ext>
            </c:extLst>
          </c:dPt>
          <c:dPt>
            <c:idx val="3"/>
            <c:bubble3D val="0"/>
            <c:spPr>
              <a:solidFill>
                <a:srgbClr val="061E4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B7F9-4343-B1F8-2D981775495E}"/>
              </c:ext>
            </c:extLst>
          </c:dPt>
          <c:dPt>
            <c:idx val="4"/>
            <c:bubble3D val="0"/>
            <c:spPr>
              <a:solidFill>
                <a:srgbClr val="061E4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9-B7F9-4343-B1F8-2D981775495E}"/>
              </c:ext>
            </c:extLst>
          </c:dPt>
          <c:dLbls>
            <c:dLbl>
              <c:idx val="0"/>
              <c:delete val="1"/>
              <c:extLst>
                <c:ext xmlns:c15="http://schemas.microsoft.com/office/drawing/2012/chart" uri="{CE6537A1-D6FC-4f65-9D91-7224C49458BB}"/>
                <c:ext xmlns:c16="http://schemas.microsoft.com/office/drawing/2014/chart" uri="{C3380CC4-5D6E-409C-BE32-E72D297353CC}">
                  <c16:uniqueId val="{00000001-50AD-4FC9-A2D3-F0D0A4C5C653}"/>
                </c:ext>
              </c:extLst>
            </c:dLbl>
            <c:dLbl>
              <c:idx val="1"/>
              <c:delete val="1"/>
              <c:extLst>
                <c:ext xmlns:c15="http://schemas.microsoft.com/office/drawing/2012/chart" uri="{CE6537A1-D6FC-4f65-9D91-7224C49458BB}"/>
                <c:ext xmlns:c16="http://schemas.microsoft.com/office/drawing/2014/chart" uri="{C3380CC4-5D6E-409C-BE32-E72D297353CC}">
                  <c16:uniqueId val="{00000002-50AD-4FC9-A2D3-F0D0A4C5C653}"/>
                </c:ext>
              </c:extLst>
            </c:dLbl>
            <c:dLbl>
              <c:idx val="3"/>
              <c:delete val="1"/>
              <c:extLst>
                <c:ext xmlns:c15="http://schemas.microsoft.com/office/drawing/2012/chart" uri="{CE6537A1-D6FC-4f65-9D91-7224C49458BB}"/>
                <c:ext xmlns:c16="http://schemas.microsoft.com/office/drawing/2014/chart" uri="{C3380CC4-5D6E-409C-BE32-E72D297353CC}">
                  <c16:uniqueId val="{00000007-B7F9-4343-B1F8-2D981775495E}"/>
                </c:ext>
              </c:extLst>
            </c:dLbl>
            <c:dLbl>
              <c:idx val="4"/>
              <c:delete val="1"/>
              <c:extLst>
                <c:ext xmlns:c15="http://schemas.microsoft.com/office/drawing/2012/chart" uri="{CE6537A1-D6FC-4f65-9D91-7224C49458BB}"/>
                <c:ext xmlns:c16="http://schemas.microsoft.com/office/drawing/2014/chart" uri="{C3380CC4-5D6E-409C-BE32-E72D297353CC}">
                  <c16:uniqueId val="{00000009-B7F9-4343-B1F8-2D981775495E}"/>
                </c:ext>
              </c:extLst>
            </c:dLbl>
            <c:spPr>
              <a:noFill/>
              <a:ln>
                <a:noFill/>
              </a:ln>
              <a:effectLst/>
            </c:spPr>
            <c:txPr>
              <a:bodyPr rot="0" spcFirstLastPara="1" vertOverflow="ellipsis" vert="horz" wrap="square" lIns="38100" tIns="19050" rIns="38100" bIns="19050" anchor="ctr" anchorCtr="1">
                <a:spAutoFit/>
              </a:bodyPr>
              <a:lstStyle/>
              <a:p>
                <a:pPr>
                  <a:defRPr sz="3200" b="1" i="0" u="none" strike="noStrike" kern="1200" baseline="0">
                    <a:solidFill>
                      <a:schemeClr val="lt1"/>
                    </a:solidFill>
                    <a:latin typeface="Century Gothic" panose="020B0502020202020204" pitchFamily="34" charset="0"/>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6</c:f>
              <c:strCache>
                <c:ptCount val="5"/>
                <c:pt idx="0">
                  <c:v>Payment History</c:v>
                </c:pt>
                <c:pt idx="1">
                  <c:v>Amounts Owed</c:v>
                </c:pt>
                <c:pt idx="2">
                  <c:v>Length of Credit History</c:v>
                </c:pt>
                <c:pt idx="3">
                  <c:v>New Credit</c:v>
                </c:pt>
                <c:pt idx="4">
                  <c:v>Credit Mix</c:v>
                </c:pt>
              </c:strCache>
            </c:strRef>
          </c:cat>
          <c:val>
            <c:numRef>
              <c:f>Sheet1!$B$2:$B$6</c:f>
              <c:numCache>
                <c:formatCode>0%</c:formatCode>
                <c:ptCount val="5"/>
                <c:pt idx="0">
                  <c:v>0.35</c:v>
                </c:pt>
                <c:pt idx="1">
                  <c:v>0.3</c:v>
                </c:pt>
                <c:pt idx="2">
                  <c:v>0.15</c:v>
                </c:pt>
                <c:pt idx="3">
                  <c:v>0.1</c:v>
                </c:pt>
                <c:pt idx="4">
                  <c:v>0.1</c:v>
                </c:pt>
              </c:numCache>
            </c:numRef>
          </c:val>
          <c:extLst>
            <c:ext xmlns:c16="http://schemas.microsoft.com/office/drawing/2014/chart" uri="{C3380CC4-5D6E-409C-BE32-E72D297353CC}">
              <c16:uniqueId val="{00000000-50AD-4FC9-A2D3-F0D0A4C5C653}"/>
            </c:ext>
          </c:extLst>
        </c:ser>
        <c:dLbls>
          <c:showLegendKey val="0"/>
          <c:showVal val="0"/>
          <c:showCatName val="0"/>
          <c:showSerName val="0"/>
          <c:showPercent val="1"/>
          <c:showBubbleSize val="0"/>
          <c:showLeaderLines val="1"/>
        </c:dLbls>
        <c:firstSliceAng val="0"/>
        <c:holeSize val="5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spPr>
            <a:solidFill>
              <a:srgbClr val="061E44"/>
            </a:solidFill>
            <a:ln>
              <a:noFill/>
            </a:ln>
          </c:spPr>
          <c:dPt>
            <c:idx val="0"/>
            <c:bubble3D val="0"/>
            <c:spPr>
              <a:solidFill>
                <a:srgbClr val="061E4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50AD-4FC9-A2D3-F0D0A4C5C653}"/>
              </c:ext>
            </c:extLst>
          </c:dPt>
          <c:dPt>
            <c:idx val="1"/>
            <c:bubble3D val="0"/>
            <c:spPr>
              <a:solidFill>
                <a:srgbClr val="061E4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2-50AD-4FC9-A2D3-F0D0A4C5C653}"/>
              </c:ext>
            </c:extLst>
          </c:dPt>
          <c:dPt>
            <c:idx val="2"/>
            <c:bubble3D val="0"/>
            <c:spPr>
              <a:solidFill>
                <a:srgbClr val="061E4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B7F9-4343-B1F8-2D981775495E}"/>
              </c:ext>
            </c:extLst>
          </c:dPt>
          <c:dPt>
            <c:idx val="3"/>
            <c:bubble3D val="0"/>
            <c:spPr>
              <a:solidFill>
                <a:srgbClr val="6AC1A6"/>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B7F9-4343-B1F8-2D981775495E}"/>
              </c:ext>
            </c:extLst>
          </c:dPt>
          <c:dPt>
            <c:idx val="4"/>
            <c:bubble3D val="0"/>
            <c:spPr>
              <a:solidFill>
                <a:srgbClr val="061E4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9-B7F9-4343-B1F8-2D981775495E}"/>
              </c:ext>
            </c:extLst>
          </c:dPt>
          <c:dLbls>
            <c:dLbl>
              <c:idx val="0"/>
              <c:delete val="1"/>
              <c:extLst>
                <c:ext xmlns:c15="http://schemas.microsoft.com/office/drawing/2012/chart" uri="{CE6537A1-D6FC-4f65-9D91-7224C49458BB}"/>
                <c:ext xmlns:c16="http://schemas.microsoft.com/office/drawing/2014/chart" uri="{C3380CC4-5D6E-409C-BE32-E72D297353CC}">
                  <c16:uniqueId val="{00000001-50AD-4FC9-A2D3-F0D0A4C5C653}"/>
                </c:ext>
              </c:extLst>
            </c:dLbl>
            <c:dLbl>
              <c:idx val="1"/>
              <c:delete val="1"/>
              <c:extLst>
                <c:ext xmlns:c15="http://schemas.microsoft.com/office/drawing/2012/chart" uri="{CE6537A1-D6FC-4f65-9D91-7224C49458BB}"/>
                <c:ext xmlns:c16="http://schemas.microsoft.com/office/drawing/2014/chart" uri="{C3380CC4-5D6E-409C-BE32-E72D297353CC}">
                  <c16:uniqueId val="{00000002-50AD-4FC9-A2D3-F0D0A4C5C653}"/>
                </c:ext>
              </c:extLst>
            </c:dLbl>
            <c:dLbl>
              <c:idx val="2"/>
              <c:delete val="1"/>
              <c:extLst>
                <c:ext xmlns:c15="http://schemas.microsoft.com/office/drawing/2012/chart" uri="{CE6537A1-D6FC-4f65-9D91-7224C49458BB}"/>
                <c:ext xmlns:c16="http://schemas.microsoft.com/office/drawing/2014/chart" uri="{C3380CC4-5D6E-409C-BE32-E72D297353CC}">
                  <c16:uniqueId val="{00000005-B7F9-4343-B1F8-2D981775495E}"/>
                </c:ext>
              </c:extLst>
            </c:dLbl>
            <c:dLbl>
              <c:idx val="4"/>
              <c:delete val="1"/>
              <c:extLst>
                <c:ext xmlns:c15="http://schemas.microsoft.com/office/drawing/2012/chart" uri="{CE6537A1-D6FC-4f65-9D91-7224C49458BB}"/>
                <c:ext xmlns:c16="http://schemas.microsoft.com/office/drawing/2014/chart" uri="{C3380CC4-5D6E-409C-BE32-E72D297353CC}">
                  <c16:uniqueId val="{00000009-B7F9-4343-B1F8-2D981775495E}"/>
                </c:ext>
              </c:extLst>
            </c:dLbl>
            <c:spPr>
              <a:noFill/>
              <a:ln>
                <a:noFill/>
              </a:ln>
              <a:effectLst/>
            </c:spPr>
            <c:txPr>
              <a:bodyPr rot="0" spcFirstLastPara="1" vertOverflow="ellipsis" vert="horz" wrap="square" lIns="38100" tIns="19050" rIns="38100" bIns="19050" anchor="ctr" anchorCtr="1">
                <a:spAutoFit/>
              </a:bodyPr>
              <a:lstStyle/>
              <a:p>
                <a:pPr>
                  <a:defRPr sz="3200" b="1" i="0" u="none" strike="noStrike" kern="1200" baseline="0">
                    <a:solidFill>
                      <a:schemeClr val="lt1"/>
                    </a:solidFill>
                    <a:latin typeface="Century Gothic" panose="020B0502020202020204" pitchFamily="34" charset="0"/>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Payment History</c:v>
                </c:pt>
                <c:pt idx="1">
                  <c:v>Amounts Owed</c:v>
                </c:pt>
                <c:pt idx="2">
                  <c:v>Length of Credit History</c:v>
                </c:pt>
                <c:pt idx="3">
                  <c:v>New Credit</c:v>
                </c:pt>
                <c:pt idx="4">
                  <c:v>Credit Mix</c:v>
                </c:pt>
              </c:strCache>
            </c:strRef>
          </c:cat>
          <c:val>
            <c:numRef>
              <c:f>Sheet1!$B$2:$B$6</c:f>
              <c:numCache>
                <c:formatCode>0%</c:formatCode>
                <c:ptCount val="5"/>
                <c:pt idx="0">
                  <c:v>0.35</c:v>
                </c:pt>
                <c:pt idx="1">
                  <c:v>0.3</c:v>
                </c:pt>
                <c:pt idx="2">
                  <c:v>0.15</c:v>
                </c:pt>
                <c:pt idx="3">
                  <c:v>0.1</c:v>
                </c:pt>
                <c:pt idx="4">
                  <c:v>0.1</c:v>
                </c:pt>
              </c:numCache>
            </c:numRef>
          </c:val>
          <c:extLst>
            <c:ext xmlns:c16="http://schemas.microsoft.com/office/drawing/2014/chart" uri="{C3380CC4-5D6E-409C-BE32-E72D297353CC}">
              <c16:uniqueId val="{00000000-50AD-4FC9-A2D3-F0D0A4C5C653}"/>
            </c:ext>
          </c:extLst>
        </c:ser>
        <c:dLbls>
          <c:showLegendKey val="0"/>
          <c:showVal val="0"/>
          <c:showCatName val="0"/>
          <c:showSerName val="0"/>
          <c:showPercent val="1"/>
          <c:showBubbleSize val="0"/>
          <c:showLeaderLines val="1"/>
        </c:dLbls>
        <c:firstSliceAng val="0"/>
        <c:holeSize val="5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spPr>
            <a:solidFill>
              <a:srgbClr val="061E44"/>
            </a:solidFill>
            <a:ln>
              <a:noFill/>
            </a:ln>
          </c:spPr>
          <c:dPt>
            <c:idx val="0"/>
            <c:bubble3D val="0"/>
            <c:spPr>
              <a:solidFill>
                <a:srgbClr val="061E4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50AD-4FC9-A2D3-F0D0A4C5C653}"/>
              </c:ext>
            </c:extLst>
          </c:dPt>
          <c:dPt>
            <c:idx val="1"/>
            <c:bubble3D val="0"/>
            <c:spPr>
              <a:solidFill>
                <a:srgbClr val="061E4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2-50AD-4FC9-A2D3-F0D0A4C5C653}"/>
              </c:ext>
            </c:extLst>
          </c:dPt>
          <c:dPt>
            <c:idx val="2"/>
            <c:bubble3D val="0"/>
            <c:spPr>
              <a:solidFill>
                <a:srgbClr val="061E4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B7F9-4343-B1F8-2D981775495E}"/>
              </c:ext>
            </c:extLst>
          </c:dPt>
          <c:dPt>
            <c:idx val="3"/>
            <c:bubble3D val="0"/>
            <c:spPr>
              <a:solidFill>
                <a:srgbClr val="061E4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B7F9-4343-B1F8-2D981775495E}"/>
              </c:ext>
            </c:extLst>
          </c:dPt>
          <c:dPt>
            <c:idx val="4"/>
            <c:bubble3D val="0"/>
            <c:spPr>
              <a:solidFill>
                <a:srgbClr val="CF7128"/>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9-B7F9-4343-B1F8-2D981775495E}"/>
              </c:ext>
            </c:extLst>
          </c:dPt>
          <c:dLbls>
            <c:dLbl>
              <c:idx val="0"/>
              <c:delete val="1"/>
              <c:extLst>
                <c:ext xmlns:c15="http://schemas.microsoft.com/office/drawing/2012/chart" uri="{CE6537A1-D6FC-4f65-9D91-7224C49458BB}"/>
                <c:ext xmlns:c16="http://schemas.microsoft.com/office/drawing/2014/chart" uri="{C3380CC4-5D6E-409C-BE32-E72D297353CC}">
                  <c16:uniqueId val="{00000001-50AD-4FC9-A2D3-F0D0A4C5C653}"/>
                </c:ext>
              </c:extLst>
            </c:dLbl>
            <c:dLbl>
              <c:idx val="1"/>
              <c:delete val="1"/>
              <c:extLst>
                <c:ext xmlns:c15="http://schemas.microsoft.com/office/drawing/2012/chart" uri="{CE6537A1-D6FC-4f65-9D91-7224C49458BB}"/>
                <c:ext xmlns:c16="http://schemas.microsoft.com/office/drawing/2014/chart" uri="{C3380CC4-5D6E-409C-BE32-E72D297353CC}">
                  <c16:uniqueId val="{00000002-50AD-4FC9-A2D3-F0D0A4C5C653}"/>
                </c:ext>
              </c:extLst>
            </c:dLbl>
            <c:dLbl>
              <c:idx val="2"/>
              <c:delete val="1"/>
              <c:extLst>
                <c:ext xmlns:c15="http://schemas.microsoft.com/office/drawing/2012/chart" uri="{CE6537A1-D6FC-4f65-9D91-7224C49458BB}"/>
                <c:ext xmlns:c16="http://schemas.microsoft.com/office/drawing/2014/chart" uri="{C3380CC4-5D6E-409C-BE32-E72D297353CC}">
                  <c16:uniqueId val="{00000005-B7F9-4343-B1F8-2D981775495E}"/>
                </c:ext>
              </c:extLst>
            </c:dLbl>
            <c:dLbl>
              <c:idx val="3"/>
              <c:delete val="1"/>
              <c:extLst>
                <c:ext xmlns:c15="http://schemas.microsoft.com/office/drawing/2012/chart" uri="{CE6537A1-D6FC-4f65-9D91-7224C49458BB}"/>
                <c:ext xmlns:c16="http://schemas.microsoft.com/office/drawing/2014/chart" uri="{C3380CC4-5D6E-409C-BE32-E72D297353CC}">
                  <c16:uniqueId val="{00000007-B7F9-4343-B1F8-2D981775495E}"/>
                </c:ext>
              </c:extLst>
            </c:dLbl>
            <c:spPr>
              <a:noFill/>
              <a:ln>
                <a:noFill/>
              </a:ln>
              <a:effectLst/>
            </c:spPr>
            <c:txPr>
              <a:bodyPr rot="0" spcFirstLastPara="1" vertOverflow="ellipsis" vert="horz" wrap="square" lIns="38100" tIns="19050" rIns="38100" bIns="19050" anchor="ctr" anchorCtr="1">
                <a:spAutoFit/>
              </a:bodyPr>
              <a:lstStyle/>
              <a:p>
                <a:pPr>
                  <a:defRPr sz="3200" b="1" i="0" u="none" strike="noStrike" kern="1200" baseline="0">
                    <a:solidFill>
                      <a:schemeClr val="lt1"/>
                    </a:solidFill>
                    <a:latin typeface="Century Gothic" panose="020B0502020202020204" pitchFamily="34" charset="0"/>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Payment History</c:v>
                </c:pt>
                <c:pt idx="1">
                  <c:v>Amounts Owed</c:v>
                </c:pt>
                <c:pt idx="2">
                  <c:v>Length of Credit History</c:v>
                </c:pt>
                <c:pt idx="3">
                  <c:v>New Credit</c:v>
                </c:pt>
                <c:pt idx="4">
                  <c:v>Credit Mix</c:v>
                </c:pt>
              </c:strCache>
            </c:strRef>
          </c:cat>
          <c:val>
            <c:numRef>
              <c:f>Sheet1!$B$2:$B$6</c:f>
              <c:numCache>
                <c:formatCode>0%</c:formatCode>
                <c:ptCount val="5"/>
                <c:pt idx="0">
                  <c:v>0.35</c:v>
                </c:pt>
                <c:pt idx="1">
                  <c:v>0.3</c:v>
                </c:pt>
                <c:pt idx="2">
                  <c:v>0.15</c:v>
                </c:pt>
                <c:pt idx="3">
                  <c:v>0.1</c:v>
                </c:pt>
                <c:pt idx="4">
                  <c:v>0.1</c:v>
                </c:pt>
              </c:numCache>
            </c:numRef>
          </c:val>
          <c:extLst>
            <c:ext xmlns:c16="http://schemas.microsoft.com/office/drawing/2014/chart" uri="{C3380CC4-5D6E-409C-BE32-E72D297353CC}">
              <c16:uniqueId val="{00000000-50AD-4FC9-A2D3-F0D0A4C5C653}"/>
            </c:ext>
          </c:extLst>
        </c:ser>
        <c:dLbls>
          <c:showLegendKey val="0"/>
          <c:showVal val="0"/>
          <c:showCatName val="0"/>
          <c:showSerName val="0"/>
          <c:showPercent val="1"/>
          <c:showBubbleSize val="0"/>
          <c:showLeaderLines val="1"/>
        </c:dLbls>
        <c:firstSliceAng val="0"/>
        <c:holeSize val="5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1</c:v>
                </c:pt>
              </c:strCache>
            </c:strRef>
          </c:tx>
          <c:dPt>
            <c:idx val="0"/>
            <c:bubble3D val="0"/>
            <c:spPr>
              <a:solidFill>
                <a:schemeClr val="accent1"/>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50AD-4FC9-A2D3-F0D0A4C5C653}"/>
              </c:ext>
            </c:extLst>
          </c:dPt>
          <c:dPt>
            <c:idx val="1"/>
            <c:bubble3D val="0"/>
            <c:spPr>
              <a:solidFill>
                <a:schemeClr val="accent2"/>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2-50AD-4FC9-A2D3-F0D0A4C5C653}"/>
              </c:ext>
            </c:extLst>
          </c:dPt>
          <c:dPt>
            <c:idx val="2"/>
            <c:bubble3D val="0"/>
            <c:spPr>
              <a:solidFill>
                <a:srgbClr val="1E575C"/>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50AD-4FC9-A2D3-F0D0A4C5C653}"/>
              </c:ext>
            </c:extLst>
          </c:dPt>
          <c:dPt>
            <c:idx val="3"/>
            <c:bubble3D val="0"/>
            <c:spPr>
              <a:solidFill>
                <a:srgbClr val="6AC1A6"/>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4-50AD-4FC9-A2D3-F0D0A4C5C653}"/>
              </c:ext>
            </c:extLst>
          </c:dPt>
          <c:dPt>
            <c:idx val="4"/>
            <c:bubble3D val="0"/>
            <c:spPr>
              <a:solidFill>
                <a:srgbClr val="CF7128"/>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50AD-4FC9-A2D3-F0D0A4C5C653}"/>
              </c:ext>
            </c:extLst>
          </c:dPt>
          <c:dLbls>
            <c:dLbl>
              <c:idx val="0"/>
              <c:layout>
                <c:manualLayout>
                  <c:x val="1.6900676027041081E-2"/>
                  <c:y val="5.2903762189951929E-2"/>
                </c:manualLayout>
              </c:layout>
              <c:showLegendKey val="0"/>
              <c:showVal val="0"/>
              <c:showCatName val="0"/>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1-50AD-4FC9-A2D3-F0D0A4C5C653}"/>
                </c:ext>
              </c:extLst>
            </c:dLbl>
            <c:dLbl>
              <c:idx val="1"/>
              <c:layout>
                <c:manualLayout>
                  <c:x val="0"/>
                  <c:y val="0"/>
                </c:manualLayout>
              </c:layout>
              <c:showLegendKey val="0"/>
              <c:showVal val="0"/>
              <c:showCatName val="0"/>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2-50AD-4FC9-A2D3-F0D0A4C5C653}"/>
                </c:ext>
              </c:extLst>
            </c:dLbl>
            <c:spPr>
              <a:noFill/>
              <a:ln>
                <a:noFill/>
              </a:ln>
              <a:effectLst/>
            </c:spPr>
            <c:txPr>
              <a:bodyPr rot="0" spcFirstLastPara="1" vertOverflow="ellipsis" vert="horz" wrap="square" lIns="38100" tIns="19050" rIns="38100" bIns="19050" anchor="ctr" anchorCtr="1">
                <a:spAutoFit/>
              </a:bodyPr>
              <a:lstStyle/>
              <a:p>
                <a:pPr>
                  <a:defRPr sz="3200" b="1" i="0" u="none" strike="noStrike" kern="1200" baseline="0">
                    <a:solidFill>
                      <a:schemeClr val="lt1"/>
                    </a:solidFill>
                    <a:latin typeface="Century Gothic" panose="020B0502020202020204" pitchFamily="34" charset="0"/>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1!$A$2:$A$6</c:f>
              <c:strCache>
                <c:ptCount val="5"/>
                <c:pt idx="0">
                  <c:v>Payment History</c:v>
                </c:pt>
                <c:pt idx="1">
                  <c:v>Amounts Owed</c:v>
                </c:pt>
                <c:pt idx="2">
                  <c:v>Length of Credit History</c:v>
                </c:pt>
                <c:pt idx="3">
                  <c:v>New Credit</c:v>
                </c:pt>
                <c:pt idx="4">
                  <c:v>Credit Mix</c:v>
                </c:pt>
              </c:strCache>
            </c:strRef>
          </c:cat>
          <c:val>
            <c:numRef>
              <c:f>Sheet1!$B$2:$B$6</c:f>
              <c:numCache>
                <c:formatCode>0%</c:formatCode>
                <c:ptCount val="5"/>
                <c:pt idx="0">
                  <c:v>0.35</c:v>
                </c:pt>
                <c:pt idx="1">
                  <c:v>0.3</c:v>
                </c:pt>
                <c:pt idx="2">
                  <c:v>0.15</c:v>
                </c:pt>
                <c:pt idx="3">
                  <c:v>0.1</c:v>
                </c:pt>
                <c:pt idx="4">
                  <c:v>0.1</c:v>
                </c:pt>
              </c:numCache>
            </c:numRef>
          </c:val>
          <c:extLst>
            <c:ext xmlns:c16="http://schemas.microsoft.com/office/drawing/2014/chart" uri="{C3380CC4-5D6E-409C-BE32-E72D297353CC}">
              <c16:uniqueId val="{00000000-50AD-4FC9-A2D3-F0D0A4C5C653}"/>
            </c:ext>
          </c:extLst>
        </c:ser>
        <c:dLbls>
          <c:showLegendKey val="0"/>
          <c:showVal val="0"/>
          <c:showCatName val="0"/>
          <c:showSerName val="0"/>
          <c:showPercent val="1"/>
          <c:showBubbleSize val="0"/>
          <c:showLeaderLines val="1"/>
        </c:dLbls>
        <c:firstSliceAng val="0"/>
        <c:holeSize val="50"/>
      </c:doughnut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8">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1"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scene3d>
        <a:camera prst="orthographicFront"/>
        <a:lightRig rig="brightRoom" dir="t"/>
      </a:scene3d>
      <a:sp3d prstMaterial="flat">
        <a:bevelT w="50800" h="101600" prst="angle"/>
        <a:contourClr>
          <a:srgbClr val="000000"/>
        </a:contourClr>
      </a:sp3d>
    </cs:spPr>
  </cs:dataPoint>
  <cs:dataPoint3D>
    <cs:lnRef idx="0"/>
    <cs:fillRef idx="0">
      <cs:styleClr val="auto"/>
    </cs:fillRef>
    <cs:effectRef idx="0"/>
    <cs:fontRef idx="minor">
      <a:schemeClr val="tx1"/>
    </cs:fontRef>
    <cs:spPr>
      <a:solidFill>
        <a:schemeClr val="phClr"/>
      </a:solidFill>
      <a:ln w="1905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1" i="0" kern="1200" cap="all" spc="50"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977C63-F6B2-4DED-B4EF-D4970A2D1E20}" type="datetimeFigureOut">
              <a:rPr lang="en-US" smtClean="0"/>
              <a:t>1/1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54E303A-2034-4BD8-8C21-0B8FFE3DE7D4}" type="slidenum">
              <a:rPr lang="en-US" smtClean="0"/>
              <a:t>‹#›</a:t>
            </a:fld>
            <a:endParaRPr lang="en-US"/>
          </a:p>
        </p:txBody>
      </p:sp>
    </p:spTree>
    <p:extLst>
      <p:ext uri="{BB962C8B-B14F-4D97-AF65-F5344CB8AC3E}">
        <p14:creationId xmlns:p14="http://schemas.microsoft.com/office/powerpoint/2010/main" val="18300453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4425A-2144-4A1F-98F9-B2E7BF9483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98984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ll also bust some credit myths and talk about why they aren’t necessarily true </a:t>
            </a:r>
          </a:p>
        </p:txBody>
      </p:sp>
      <p:sp>
        <p:nvSpPr>
          <p:cNvPr id="4" name="Slide Number Placeholder 3"/>
          <p:cNvSpPr>
            <a:spLocks noGrp="1"/>
          </p:cNvSpPr>
          <p:nvPr>
            <p:ph type="sldNum" sz="quarter" idx="5"/>
          </p:nvPr>
        </p:nvSpPr>
        <p:spPr/>
        <p:txBody>
          <a:bodyPr/>
          <a:lstStyle/>
          <a:p>
            <a:fld id="{454E303A-2034-4BD8-8C21-0B8FFE3DE7D4}" type="slidenum">
              <a:rPr lang="en-US" smtClean="0"/>
              <a:t>12</a:t>
            </a:fld>
            <a:endParaRPr lang="en-US"/>
          </a:p>
        </p:txBody>
      </p:sp>
    </p:spTree>
    <p:extLst>
      <p:ext uri="{BB962C8B-B14F-4D97-AF65-F5344CB8AC3E}">
        <p14:creationId xmlns:p14="http://schemas.microsoft.com/office/powerpoint/2010/main" val="6051972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fore wrapping up by looking at healthy credit habits and tips.</a:t>
            </a:r>
          </a:p>
        </p:txBody>
      </p:sp>
      <p:sp>
        <p:nvSpPr>
          <p:cNvPr id="4" name="Slide Number Placeholder 3"/>
          <p:cNvSpPr>
            <a:spLocks noGrp="1"/>
          </p:cNvSpPr>
          <p:nvPr>
            <p:ph type="sldNum" sz="quarter" idx="5"/>
          </p:nvPr>
        </p:nvSpPr>
        <p:spPr/>
        <p:txBody>
          <a:bodyPr/>
          <a:lstStyle/>
          <a:p>
            <a:fld id="{454E303A-2034-4BD8-8C21-0B8FFE3DE7D4}" type="slidenum">
              <a:rPr lang="en-US" smtClean="0"/>
              <a:t>13</a:t>
            </a:fld>
            <a:endParaRPr lang="en-US"/>
          </a:p>
        </p:txBody>
      </p:sp>
    </p:spTree>
    <p:extLst>
      <p:ext uri="{BB962C8B-B14F-4D97-AF65-F5344CB8AC3E}">
        <p14:creationId xmlns:p14="http://schemas.microsoft.com/office/powerpoint/2010/main" val="2403267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et’s go ahead and dive right in to the basics of credit by starting with defining some key terms. At its core, credit is an agreement between an individual and a creditor, in which the individual receives something now with the understanding they will pay the creditor back later. This can come in a variety of forms, like a loan, a credit card, or a line of credit. </a:t>
            </a:r>
          </a:p>
          <a:p>
            <a:endParaRPr lang="en-US" dirty="0"/>
          </a:p>
        </p:txBody>
      </p:sp>
      <p:sp>
        <p:nvSpPr>
          <p:cNvPr id="4" name="Slide Number Placeholder 3"/>
          <p:cNvSpPr>
            <a:spLocks noGrp="1"/>
          </p:cNvSpPr>
          <p:nvPr>
            <p:ph type="sldNum" sz="quarter" idx="5"/>
          </p:nvPr>
        </p:nvSpPr>
        <p:spPr/>
        <p:txBody>
          <a:bodyPr/>
          <a:lstStyle/>
          <a:p>
            <a:fld id="{454E303A-2034-4BD8-8C21-0B8FFE3DE7D4}" type="slidenum">
              <a:rPr lang="en-US" smtClean="0"/>
              <a:t>14</a:t>
            </a:fld>
            <a:endParaRPr lang="en-US"/>
          </a:p>
        </p:txBody>
      </p:sp>
    </p:spTree>
    <p:extLst>
      <p:ext uri="{BB962C8B-B14F-4D97-AF65-F5344CB8AC3E}">
        <p14:creationId xmlns:p14="http://schemas.microsoft.com/office/powerpoint/2010/main" val="17565265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credit report shows both your credit history on old accounts and the activity on all open credit accounts. This shows how you have handled credit accounts in the past as well as how you are currently handling credit. Things can typically stay on your credit report for between 2 and 10 years, and perhaps longer if the accounts remain open and in good standing. </a:t>
            </a:r>
          </a:p>
          <a:p>
            <a:endParaRPr lang="en-US" dirty="0"/>
          </a:p>
        </p:txBody>
      </p:sp>
      <p:sp>
        <p:nvSpPr>
          <p:cNvPr id="4" name="Slide Number Placeholder 3"/>
          <p:cNvSpPr>
            <a:spLocks noGrp="1"/>
          </p:cNvSpPr>
          <p:nvPr>
            <p:ph type="sldNum" sz="quarter" idx="5"/>
          </p:nvPr>
        </p:nvSpPr>
        <p:spPr/>
        <p:txBody>
          <a:bodyPr/>
          <a:lstStyle/>
          <a:p>
            <a:fld id="{454E303A-2034-4BD8-8C21-0B8FFE3DE7D4}" type="slidenum">
              <a:rPr lang="en-US" smtClean="0"/>
              <a:t>15</a:t>
            </a:fld>
            <a:endParaRPr lang="en-US"/>
          </a:p>
        </p:txBody>
      </p:sp>
    </p:spTree>
    <p:extLst>
      <p:ext uri="{BB962C8B-B14F-4D97-AF65-F5344CB8AC3E}">
        <p14:creationId xmlns:p14="http://schemas.microsoft.com/office/powerpoint/2010/main" val="12073106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three different credit bureaus that generate credit reports: Experian, TransUnion, and Equifax. Not all creditors report to all three credit bureaus, so there can be differences between these three reports. </a:t>
            </a:r>
          </a:p>
          <a:p>
            <a:endParaRPr lang="en-US" dirty="0"/>
          </a:p>
        </p:txBody>
      </p:sp>
      <p:sp>
        <p:nvSpPr>
          <p:cNvPr id="4" name="Slide Number Placeholder 3"/>
          <p:cNvSpPr>
            <a:spLocks noGrp="1"/>
          </p:cNvSpPr>
          <p:nvPr>
            <p:ph type="sldNum" sz="quarter" idx="5"/>
          </p:nvPr>
        </p:nvSpPr>
        <p:spPr/>
        <p:txBody>
          <a:bodyPr/>
          <a:lstStyle/>
          <a:p>
            <a:fld id="{454E303A-2034-4BD8-8C21-0B8FFE3DE7D4}" type="slidenum">
              <a:rPr lang="en-US" smtClean="0"/>
              <a:t>16</a:t>
            </a:fld>
            <a:endParaRPr lang="en-US"/>
          </a:p>
        </p:txBody>
      </p:sp>
    </p:spTree>
    <p:extLst>
      <p:ext uri="{BB962C8B-B14F-4D97-AF65-F5344CB8AC3E}">
        <p14:creationId xmlns:p14="http://schemas.microsoft.com/office/powerpoint/2010/main" val="13582284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are entitled by federal law to access a free copy of your credit report from all three credit bureaus once a week. This used to just be once a year, but during the COVID-19 pandemic credit bureaus started offering these reports free weekly and recently made the decision to continue this indefinitely. The officially recommended place to do so is AnnualCreditReport.com – be really careful when typing this website in as there are a lot of imposter sites. Look for that logo in the top left hand stating it’s the source authorized by federal law! </a:t>
            </a:r>
          </a:p>
        </p:txBody>
      </p:sp>
      <p:sp>
        <p:nvSpPr>
          <p:cNvPr id="4" name="Slide Number Placeholder 3"/>
          <p:cNvSpPr>
            <a:spLocks noGrp="1"/>
          </p:cNvSpPr>
          <p:nvPr>
            <p:ph type="sldNum" sz="quarter" idx="5"/>
          </p:nvPr>
        </p:nvSpPr>
        <p:spPr/>
        <p:txBody>
          <a:bodyPr/>
          <a:lstStyle/>
          <a:p>
            <a:fld id="{454E303A-2034-4BD8-8C21-0B8FFE3DE7D4}" type="slidenum">
              <a:rPr lang="en-US" smtClean="0"/>
              <a:t>17</a:t>
            </a:fld>
            <a:endParaRPr lang="en-US"/>
          </a:p>
        </p:txBody>
      </p:sp>
    </p:spTree>
    <p:extLst>
      <p:ext uri="{BB962C8B-B14F-4D97-AF65-F5344CB8AC3E}">
        <p14:creationId xmlns:p14="http://schemas.microsoft.com/office/powerpoint/2010/main" val="34333450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r credit reports include your identifying information, information and history of your credit accounts, any bankruptcies and collection accounts within the last 7 or so years, as well as a list of who has accessed your credit report. </a:t>
            </a:r>
          </a:p>
          <a:p>
            <a:endParaRPr lang="en-US" dirty="0"/>
          </a:p>
          <a:p>
            <a:r>
              <a:rPr lang="en-US" dirty="0"/>
              <a:t>It does NOT include income, assets, checking or savings accounts, or debit card usage. It also typically does not include bills like rent or utilities.  </a:t>
            </a:r>
          </a:p>
          <a:p>
            <a:endParaRPr lang="en-US" dirty="0"/>
          </a:p>
          <a:p>
            <a:r>
              <a:rPr lang="en-US" dirty="0"/>
              <a:t>Reviewing your credit reports once a year is a good idea for many reasons. First, you want to make sure you are aware of everything that is on there, and be sure nothing shows up that you were not aware of or forgot about. Second, you want to make sure everything is correct and accurate. Reviewing your credit report can be one way to catch identity theft – if you see accounts on your credit report that you are certain you did not open, contact the credit bureaus to place a freeze on your credit immediately and to dispute the accounts, and file an Identity Theft report at identitytheft.gov. </a:t>
            </a:r>
          </a:p>
        </p:txBody>
      </p:sp>
      <p:sp>
        <p:nvSpPr>
          <p:cNvPr id="4" name="Slide Number Placeholder 3"/>
          <p:cNvSpPr>
            <a:spLocks noGrp="1"/>
          </p:cNvSpPr>
          <p:nvPr>
            <p:ph type="sldNum" sz="quarter" idx="5"/>
          </p:nvPr>
        </p:nvSpPr>
        <p:spPr/>
        <p:txBody>
          <a:bodyPr/>
          <a:lstStyle/>
          <a:p>
            <a:fld id="{454E303A-2034-4BD8-8C21-0B8FFE3DE7D4}" type="slidenum">
              <a:rPr lang="en-US" smtClean="0"/>
              <a:t>18</a:t>
            </a:fld>
            <a:endParaRPr lang="en-US"/>
          </a:p>
        </p:txBody>
      </p:sp>
    </p:spTree>
    <p:extLst>
      <p:ext uri="{BB962C8B-B14F-4D97-AF65-F5344CB8AC3E}">
        <p14:creationId xmlns:p14="http://schemas.microsoft.com/office/powerpoint/2010/main" val="17418833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d finally, your credit score is a three-digit number that uses information from your credit report to help creditors predict how likely you are to pay them back as agreed if they choose to extend the credit you are requesting. Basically, creditors use your credit score to measure how risky it is for them to offer you this loan or give you a credit card with a certain available limit based on your history of managing other credit accounts. </a:t>
            </a:r>
          </a:p>
          <a:p>
            <a:endParaRPr lang="en-US" dirty="0"/>
          </a:p>
        </p:txBody>
      </p:sp>
      <p:sp>
        <p:nvSpPr>
          <p:cNvPr id="4" name="Slide Number Placeholder 3"/>
          <p:cNvSpPr>
            <a:spLocks noGrp="1"/>
          </p:cNvSpPr>
          <p:nvPr>
            <p:ph type="sldNum" sz="quarter" idx="5"/>
          </p:nvPr>
        </p:nvSpPr>
        <p:spPr/>
        <p:txBody>
          <a:bodyPr/>
          <a:lstStyle/>
          <a:p>
            <a:fld id="{454E303A-2034-4BD8-8C21-0B8FFE3DE7D4}" type="slidenum">
              <a:rPr lang="en-US" smtClean="0"/>
              <a:t>19</a:t>
            </a:fld>
            <a:endParaRPr lang="en-US"/>
          </a:p>
        </p:txBody>
      </p:sp>
    </p:spTree>
    <p:extLst>
      <p:ext uri="{BB962C8B-B14F-4D97-AF65-F5344CB8AC3E}">
        <p14:creationId xmlns:p14="http://schemas.microsoft.com/office/powerpoint/2010/main" val="26792032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While it’s possible to have a 0 credit score if you have no credit history at all, if there is anything on the report the minimum score would typically be 300, which would be consider a poor credit score all the way through 579. </a:t>
            </a:r>
            <a:r>
              <a:rPr lang="en-US" dirty="0"/>
              <a:t>Once you hit 580 through 669, that is considered fair. 670 – 739 starts being considered “good,” with 740-799 being very good, and 800+ falling under the category of excellent. </a:t>
            </a:r>
            <a:endParaRPr lang="en-US" b="0" dirty="0"/>
          </a:p>
          <a:p>
            <a:endParaRPr lang="en-US" dirty="0"/>
          </a:p>
          <a:p>
            <a:r>
              <a:rPr lang="en-US" dirty="0"/>
              <a:t>The average score in the United States varies a bit from year to year, but almost always falls somewhere in that “good” range of 670-739. </a:t>
            </a:r>
          </a:p>
          <a:p>
            <a:endParaRPr lang="en-US" dirty="0"/>
          </a:p>
        </p:txBody>
      </p:sp>
      <p:sp>
        <p:nvSpPr>
          <p:cNvPr id="4" name="Slide Number Placeholder 3"/>
          <p:cNvSpPr>
            <a:spLocks noGrp="1"/>
          </p:cNvSpPr>
          <p:nvPr>
            <p:ph type="sldNum" sz="quarter" idx="5"/>
          </p:nvPr>
        </p:nvSpPr>
        <p:spPr/>
        <p:txBody>
          <a:bodyPr/>
          <a:lstStyle/>
          <a:p>
            <a:fld id="{454E303A-2034-4BD8-8C21-0B8FFE3DE7D4}" type="slidenum">
              <a:rPr lang="en-US" smtClean="0"/>
              <a:t>20</a:t>
            </a:fld>
            <a:endParaRPr lang="en-US"/>
          </a:p>
        </p:txBody>
      </p:sp>
    </p:spTree>
    <p:extLst>
      <p:ext uri="{BB962C8B-B14F-4D97-AF65-F5344CB8AC3E}">
        <p14:creationId xmlns:p14="http://schemas.microsoft.com/office/powerpoint/2010/main" val="40215032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thing that is important to mention: just because you have a high credit score, it does not mean you are financially healthy. It is possible to have a high credit score while carrying a LOT of debt and having no savings, just like it is possible to have a low credit score due to not having hardly any debt but being financially stable overall. A credit score is important for a lot of things, but it is NOT a financial health score. </a:t>
            </a:r>
          </a:p>
          <a:p>
            <a:endParaRPr lang="en-US" dirty="0"/>
          </a:p>
        </p:txBody>
      </p:sp>
      <p:sp>
        <p:nvSpPr>
          <p:cNvPr id="4" name="Slide Number Placeholder 3"/>
          <p:cNvSpPr>
            <a:spLocks noGrp="1"/>
          </p:cNvSpPr>
          <p:nvPr>
            <p:ph type="sldNum" sz="quarter" idx="5"/>
          </p:nvPr>
        </p:nvSpPr>
        <p:spPr/>
        <p:txBody>
          <a:bodyPr/>
          <a:lstStyle/>
          <a:p>
            <a:fld id="{454E303A-2034-4BD8-8C21-0B8FFE3DE7D4}" type="slidenum">
              <a:rPr lang="en-US" smtClean="0"/>
              <a:t>21</a:t>
            </a:fld>
            <a:endParaRPr lang="en-US"/>
          </a:p>
        </p:txBody>
      </p:sp>
    </p:spTree>
    <p:extLst>
      <p:ext uri="{BB962C8B-B14F-4D97-AF65-F5344CB8AC3E}">
        <p14:creationId xmlns:p14="http://schemas.microsoft.com/office/powerpoint/2010/main" val="27715355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4425A-2144-4A1F-98F9-B2E7BF9483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50044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So now that we’ve talked about what credit is, why does this matter to you? Why is credit important? Credit can impact your ability to do and access a lot of things, including… </a:t>
            </a:r>
          </a:p>
          <a:p>
            <a:endParaRPr lang="en-US" dirty="0"/>
          </a:p>
        </p:txBody>
      </p:sp>
      <p:sp>
        <p:nvSpPr>
          <p:cNvPr id="4" name="Slide Number Placeholder 3"/>
          <p:cNvSpPr>
            <a:spLocks noGrp="1"/>
          </p:cNvSpPr>
          <p:nvPr>
            <p:ph type="sldNum" sz="quarter" idx="5"/>
          </p:nvPr>
        </p:nvSpPr>
        <p:spPr/>
        <p:txBody>
          <a:bodyPr/>
          <a:lstStyle/>
          <a:p>
            <a:fld id="{454E303A-2034-4BD8-8C21-0B8FFE3DE7D4}" type="slidenum">
              <a:rPr lang="en-US" smtClean="0"/>
              <a:t>22</a:t>
            </a:fld>
            <a:endParaRPr lang="en-US"/>
          </a:p>
        </p:txBody>
      </p:sp>
    </p:spTree>
    <p:extLst>
      <p:ext uri="{BB962C8B-B14F-4D97-AF65-F5344CB8AC3E}">
        <p14:creationId xmlns:p14="http://schemas.microsoft.com/office/powerpoint/2010/main" val="30313709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nting or purchasing a home</a:t>
            </a:r>
          </a:p>
        </p:txBody>
      </p:sp>
      <p:sp>
        <p:nvSpPr>
          <p:cNvPr id="4" name="Slide Number Placeholder 3"/>
          <p:cNvSpPr>
            <a:spLocks noGrp="1"/>
          </p:cNvSpPr>
          <p:nvPr>
            <p:ph type="sldNum" sz="quarter" idx="5"/>
          </p:nvPr>
        </p:nvSpPr>
        <p:spPr/>
        <p:txBody>
          <a:bodyPr/>
          <a:lstStyle/>
          <a:p>
            <a:fld id="{454E303A-2034-4BD8-8C21-0B8FFE3DE7D4}" type="slidenum">
              <a:rPr lang="en-US" smtClean="0"/>
              <a:t>23</a:t>
            </a:fld>
            <a:endParaRPr lang="en-US"/>
          </a:p>
        </p:txBody>
      </p:sp>
    </p:spTree>
    <p:extLst>
      <p:ext uri="{BB962C8B-B14F-4D97-AF65-F5344CB8AC3E}">
        <p14:creationId xmlns:p14="http://schemas.microsoft.com/office/powerpoint/2010/main" val="198672208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urning utilities in that home on in your name </a:t>
            </a:r>
          </a:p>
        </p:txBody>
      </p:sp>
      <p:sp>
        <p:nvSpPr>
          <p:cNvPr id="4" name="Slide Number Placeholder 3"/>
          <p:cNvSpPr>
            <a:spLocks noGrp="1"/>
          </p:cNvSpPr>
          <p:nvPr>
            <p:ph type="sldNum" sz="quarter" idx="5"/>
          </p:nvPr>
        </p:nvSpPr>
        <p:spPr/>
        <p:txBody>
          <a:bodyPr/>
          <a:lstStyle/>
          <a:p>
            <a:fld id="{454E303A-2034-4BD8-8C21-0B8FFE3DE7D4}" type="slidenum">
              <a:rPr lang="en-US" smtClean="0"/>
              <a:t>24</a:t>
            </a:fld>
            <a:endParaRPr lang="en-US"/>
          </a:p>
        </p:txBody>
      </p:sp>
    </p:spTree>
    <p:extLst>
      <p:ext uri="{BB962C8B-B14F-4D97-AF65-F5344CB8AC3E}">
        <p14:creationId xmlns:p14="http://schemas.microsoft.com/office/powerpoint/2010/main" val="352149049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Your ability to get AND keep some jobs. Some jobs will require a credit check before a job offer is extended, and some will periodically review your credit throughout your employment. This includes, but is not limited to, military clearances. </a:t>
            </a:r>
          </a:p>
          <a:p>
            <a:endParaRPr lang="en-US" dirty="0"/>
          </a:p>
        </p:txBody>
      </p:sp>
      <p:sp>
        <p:nvSpPr>
          <p:cNvPr id="4" name="Slide Number Placeholder 3"/>
          <p:cNvSpPr>
            <a:spLocks noGrp="1"/>
          </p:cNvSpPr>
          <p:nvPr>
            <p:ph type="sldNum" sz="quarter" idx="5"/>
          </p:nvPr>
        </p:nvSpPr>
        <p:spPr/>
        <p:txBody>
          <a:bodyPr/>
          <a:lstStyle/>
          <a:p>
            <a:fld id="{454E303A-2034-4BD8-8C21-0B8FFE3DE7D4}" type="slidenum">
              <a:rPr lang="en-US" smtClean="0"/>
              <a:t>25</a:t>
            </a:fld>
            <a:endParaRPr lang="en-US"/>
          </a:p>
        </p:txBody>
      </p:sp>
    </p:spTree>
    <p:extLst>
      <p:ext uri="{BB962C8B-B14F-4D97-AF65-F5344CB8AC3E}">
        <p14:creationId xmlns:p14="http://schemas.microsoft.com/office/powerpoint/2010/main" val="29675030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redit can also impact your ability to open a bank account, and of course access loans or credit cards. </a:t>
            </a:r>
          </a:p>
          <a:p>
            <a:endParaRPr lang="en-US" dirty="0"/>
          </a:p>
        </p:txBody>
      </p:sp>
      <p:sp>
        <p:nvSpPr>
          <p:cNvPr id="4" name="Slide Number Placeholder 3"/>
          <p:cNvSpPr>
            <a:spLocks noGrp="1"/>
          </p:cNvSpPr>
          <p:nvPr>
            <p:ph type="sldNum" sz="quarter" idx="5"/>
          </p:nvPr>
        </p:nvSpPr>
        <p:spPr/>
        <p:txBody>
          <a:bodyPr/>
          <a:lstStyle/>
          <a:p>
            <a:fld id="{454E303A-2034-4BD8-8C21-0B8FFE3DE7D4}" type="slidenum">
              <a:rPr lang="en-US" smtClean="0"/>
              <a:t>26</a:t>
            </a:fld>
            <a:endParaRPr lang="en-US"/>
          </a:p>
        </p:txBody>
      </p:sp>
    </p:spTree>
    <p:extLst>
      <p:ext uri="{BB962C8B-B14F-4D97-AF65-F5344CB8AC3E}">
        <p14:creationId xmlns:p14="http://schemas.microsoft.com/office/powerpoint/2010/main" val="33764431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s well as miscellaneous other things, including car insurance rates, cell phone plans, and more. </a:t>
            </a:r>
          </a:p>
          <a:p>
            <a:endParaRPr lang="en-US" dirty="0"/>
          </a:p>
        </p:txBody>
      </p:sp>
      <p:sp>
        <p:nvSpPr>
          <p:cNvPr id="4" name="Slide Number Placeholder 3"/>
          <p:cNvSpPr>
            <a:spLocks noGrp="1"/>
          </p:cNvSpPr>
          <p:nvPr>
            <p:ph type="sldNum" sz="quarter" idx="5"/>
          </p:nvPr>
        </p:nvSpPr>
        <p:spPr/>
        <p:txBody>
          <a:bodyPr/>
          <a:lstStyle/>
          <a:p>
            <a:fld id="{454E303A-2034-4BD8-8C21-0B8FFE3DE7D4}" type="slidenum">
              <a:rPr lang="en-US" smtClean="0"/>
              <a:t>27</a:t>
            </a:fld>
            <a:endParaRPr lang="en-US"/>
          </a:p>
        </p:txBody>
      </p:sp>
    </p:spTree>
    <p:extLst>
      <p:ext uri="{BB962C8B-B14F-4D97-AF65-F5344CB8AC3E}">
        <p14:creationId xmlns:p14="http://schemas.microsoft.com/office/powerpoint/2010/main" val="42083916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indent="0">
              <a:buFont typeface="Arial" panose="020B0604020202020204" pitchFamily="34" charset="0"/>
              <a:buNone/>
            </a:pPr>
            <a:r>
              <a:rPr lang="en-US" sz="1200" dirty="0">
                <a:solidFill>
                  <a:srgbClr val="FFFFFF"/>
                </a:solidFill>
                <a:latin typeface="Century Gothic" panose="020B0502020202020204" pitchFamily="34" charset="0"/>
              </a:rPr>
              <a:t>Your credit history and score can also directly impacts how much you will pay to access loans or credit cards by being a determining factor in what interest rates you are offered. </a:t>
            </a:r>
          </a:p>
          <a:p>
            <a:endParaRPr lang="en-US" dirty="0"/>
          </a:p>
        </p:txBody>
      </p:sp>
      <p:sp>
        <p:nvSpPr>
          <p:cNvPr id="4" name="Slide Number Placeholder 3"/>
          <p:cNvSpPr>
            <a:spLocks noGrp="1"/>
          </p:cNvSpPr>
          <p:nvPr>
            <p:ph type="sldNum" sz="quarter" idx="5"/>
          </p:nvPr>
        </p:nvSpPr>
        <p:spPr/>
        <p:txBody>
          <a:bodyPr/>
          <a:lstStyle/>
          <a:p>
            <a:fld id="{454E303A-2034-4BD8-8C21-0B8FFE3DE7D4}" type="slidenum">
              <a:rPr lang="en-US" smtClean="0"/>
              <a:t>28</a:t>
            </a:fld>
            <a:endParaRPr lang="en-US"/>
          </a:p>
        </p:txBody>
      </p:sp>
    </p:spTree>
    <p:extLst>
      <p:ext uri="{BB962C8B-B14F-4D97-AF65-F5344CB8AC3E}">
        <p14:creationId xmlns:p14="http://schemas.microsoft.com/office/powerpoint/2010/main" val="225469979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 example, this is a chart of interest rates on a 5-year car loan for $25,000 as of last Friday (1/12/2024). As you can see, the interest rates, monthly payments, and total interest paid vary dramatically between the poor credit score and the very good or excellent score. </a:t>
            </a:r>
          </a:p>
        </p:txBody>
      </p:sp>
      <p:sp>
        <p:nvSpPr>
          <p:cNvPr id="4" name="Slide Number Placeholder 3"/>
          <p:cNvSpPr>
            <a:spLocks noGrp="1"/>
          </p:cNvSpPr>
          <p:nvPr>
            <p:ph type="sldNum" sz="quarter" idx="5"/>
          </p:nvPr>
        </p:nvSpPr>
        <p:spPr/>
        <p:txBody>
          <a:bodyPr/>
          <a:lstStyle/>
          <a:p>
            <a:fld id="{D5D5C6FA-8BB9-4505-94EA-C4F3F76A863D}" type="slidenum">
              <a:rPr lang="en-US" smtClean="0"/>
              <a:t>29</a:t>
            </a:fld>
            <a:endParaRPr lang="en-US"/>
          </a:p>
        </p:txBody>
      </p:sp>
    </p:spTree>
    <p:extLst>
      <p:ext uri="{BB962C8B-B14F-4D97-AF65-F5344CB8AC3E}">
        <p14:creationId xmlns:p14="http://schemas.microsoft.com/office/powerpoint/2010/main" val="36427287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fact, someone with a very good or excellent score would save more than $7,600 in total interest paid compared to what they would have paid if their score was poor. </a:t>
            </a:r>
          </a:p>
          <a:p>
            <a:endParaRPr lang="en-US" dirty="0"/>
          </a:p>
          <a:p>
            <a:r>
              <a:rPr lang="en-US" dirty="0"/>
              <a:t>$7,600 is a lot of money – this is a prime example of why credit history matters. </a:t>
            </a:r>
          </a:p>
        </p:txBody>
      </p:sp>
      <p:sp>
        <p:nvSpPr>
          <p:cNvPr id="4" name="Slide Number Placeholder 3"/>
          <p:cNvSpPr>
            <a:spLocks noGrp="1"/>
          </p:cNvSpPr>
          <p:nvPr>
            <p:ph type="sldNum" sz="quarter" idx="5"/>
          </p:nvPr>
        </p:nvSpPr>
        <p:spPr/>
        <p:txBody>
          <a:bodyPr/>
          <a:lstStyle/>
          <a:p>
            <a:fld id="{D5D5C6FA-8BB9-4505-94EA-C4F3F76A863D}" type="slidenum">
              <a:rPr lang="en-US" smtClean="0"/>
              <a:t>30</a:t>
            </a:fld>
            <a:endParaRPr lang="en-US"/>
          </a:p>
        </p:txBody>
      </p:sp>
    </p:spTree>
    <p:extLst>
      <p:ext uri="{BB962C8B-B14F-4D97-AF65-F5344CB8AC3E}">
        <p14:creationId xmlns:p14="http://schemas.microsoft.com/office/powerpoint/2010/main" val="405156892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different credit scoring models out there, but one of the most common ones lenders and creditors use is called the FICO score, which is what we will be looking at today. Another common scoring method used is called Vantage, which is what Credit Karma and many other free credit score tools typically use. </a:t>
            </a:r>
          </a:p>
          <a:p>
            <a:endParaRPr lang="en-US" dirty="0"/>
          </a:p>
          <a:p>
            <a:r>
              <a:rPr lang="en-US" dirty="0"/>
              <a:t>While these scores are not necessarily “wrong,” it is important to be aware that there are differences between the two credit scoring models, and since many creditors use FICO, your score is likely to be different when applying for credit than what you see on Credit Karma because of the differences in the scoring models. </a:t>
            </a:r>
          </a:p>
        </p:txBody>
      </p:sp>
      <p:sp>
        <p:nvSpPr>
          <p:cNvPr id="4" name="Slide Number Placeholder 3"/>
          <p:cNvSpPr>
            <a:spLocks noGrp="1"/>
          </p:cNvSpPr>
          <p:nvPr>
            <p:ph type="sldNum" sz="quarter" idx="5"/>
          </p:nvPr>
        </p:nvSpPr>
        <p:spPr/>
        <p:txBody>
          <a:bodyPr/>
          <a:lstStyle/>
          <a:p>
            <a:fld id="{454E303A-2034-4BD8-8C21-0B8FFE3DE7D4}" type="slidenum">
              <a:rPr lang="en-US" smtClean="0"/>
              <a:t>31</a:t>
            </a:fld>
            <a:endParaRPr lang="en-US"/>
          </a:p>
        </p:txBody>
      </p:sp>
    </p:spTree>
    <p:extLst>
      <p:ext uri="{BB962C8B-B14F-4D97-AF65-F5344CB8AC3E}">
        <p14:creationId xmlns:p14="http://schemas.microsoft.com/office/powerpoint/2010/main" val="29082791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4425A-2144-4A1F-98F9-B2E7BF94830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9319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5 factors that work together to determine what your FICO credit score is. </a:t>
            </a:r>
          </a:p>
        </p:txBody>
      </p:sp>
      <p:sp>
        <p:nvSpPr>
          <p:cNvPr id="4" name="Slide Number Placeholder 3"/>
          <p:cNvSpPr>
            <a:spLocks noGrp="1"/>
          </p:cNvSpPr>
          <p:nvPr>
            <p:ph type="sldNum" sz="quarter" idx="5"/>
          </p:nvPr>
        </p:nvSpPr>
        <p:spPr/>
        <p:txBody>
          <a:bodyPr/>
          <a:lstStyle/>
          <a:p>
            <a:fld id="{454E303A-2034-4BD8-8C21-0B8FFE3DE7D4}" type="slidenum">
              <a:rPr lang="en-US" smtClean="0"/>
              <a:t>32</a:t>
            </a:fld>
            <a:endParaRPr lang="en-US"/>
          </a:p>
        </p:txBody>
      </p:sp>
    </p:spTree>
    <p:extLst>
      <p:ext uri="{BB962C8B-B14F-4D97-AF65-F5344CB8AC3E}">
        <p14:creationId xmlns:p14="http://schemas.microsoft.com/office/powerpoint/2010/main" val="40778336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of which being payment history. This also happens to be the largest factor impacting your score, so making every payment on time every month is one of the very best things you can do for your credit score. Even just one month of falling past due on one account can have a quick negative impact on your score that will take some time to bounce back from. If you are not sure you will be able to pay a bill on time, reach out to your creditor as soon as possible to discuss any deferments or hardship programs you may be eligible for that could help prevent you from falling past due. </a:t>
            </a:r>
          </a:p>
        </p:txBody>
      </p:sp>
      <p:sp>
        <p:nvSpPr>
          <p:cNvPr id="4" name="Slide Number Placeholder 3"/>
          <p:cNvSpPr>
            <a:spLocks noGrp="1"/>
          </p:cNvSpPr>
          <p:nvPr>
            <p:ph type="sldNum" sz="quarter" idx="5"/>
          </p:nvPr>
        </p:nvSpPr>
        <p:spPr/>
        <p:txBody>
          <a:bodyPr/>
          <a:lstStyle/>
          <a:p>
            <a:fld id="{454E303A-2034-4BD8-8C21-0B8FFE3DE7D4}" type="slidenum">
              <a:rPr lang="en-US" smtClean="0"/>
              <a:t>33</a:t>
            </a:fld>
            <a:endParaRPr lang="en-US"/>
          </a:p>
        </p:txBody>
      </p:sp>
    </p:spTree>
    <p:extLst>
      <p:ext uri="{BB962C8B-B14F-4D97-AF65-F5344CB8AC3E}">
        <p14:creationId xmlns:p14="http://schemas.microsoft.com/office/powerpoint/2010/main" val="330562268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econd largest factor impacting your score is Amounts Owed which includes Credit Utilization. </a:t>
            </a:r>
          </a:p>
          <a:p>
            <a:endParaRPr lang="en-US" dirty="0"/>
          </a:p>
          <a:p>
            <a:r>
              <a:rPr lang="en-US" dirty="0"/>
              <a:t>Creditors wants to see loan balances decreasing, not hovering or even increasing over time which can sometimes happen with student loans or finance loans. Also, they factor in the number of accounts that have balances. </a:t>
            </a:r>
          </a:p>
          <a:p>
            <a:endParaRPr lang="en-US" dirty="0"/>
          </a:p>
          <a:p>
            <a:r>
              <a:rPr lang="en-US" dirty="0"/>
              <a:t>Credit utilization specifically looks at revolving credit accounts – like a credit card – where your balance could go up one month or down the next. Credit utilization looks how much of your credit limit you are using. The more credit limit you are using, the more risk you are to a creditor. </a:t>
            </a:r>
          </a:p>
          <a:p>
            <a:endParaRPr lang="en-US" dirty="0"/>
          </a:p>
          <a:p>
            <a:r>
              <a:rPr lang="en-US" dirty="0"/>
              <a:t>Credit utilization is determined by adding up all of your revolving account balances and divide that number by the total of your revolving limits and that’s your utilization number. Ideally you do not want to use more than 30% of your limits at anytime, and ideally pay them off monthly. For example, if you have 3 credit cards with maximum limits of $2,500, $5,500, and $2,000 – your total available </a:t>
            </a:r>
            <a:r>
              <a:rPr lang="en-US" dirty="0" err="1"/>
              <a:t>limts</a:t>
            </a:r>
            <a:r>
              <a:rPr lang="en-US" dirty="0"/>
              <a:t> are $10,000. You would want to keep your combined total balances on these cards below $3,000 – below $1,000 is ideal. </a:t>
            </a:r>
          </a:p>
        </p:txBody>
      </p:sp>
      <p:sp>
        <p:nvSpPr>
          <p:cNvPr id="4" name="Slide Number Placeholder 3"/>
          <p:cNvSpPr>
            <a:spLocks noGrp="1"/>
          </p:cNvSpPr>
          <p:nvPr>
            <p:ph type="sldNum" sz="quarter" idx="5"/>
          </p:nvPr>
        </p:nvSpPr>
        <p:spPr/>
        <p:txBody>
          <a:bodyPr/>
          <a:lstStyle/>
          <a:p>
            <a:fld id="{454E303A-2034-4BD8-8C21-0B8FFE3DE7D4}" type="slidenum">
              <a:rPr lang="en-US" smtClean="0"/>
              <a:t>34</a:t>
            </a:fld>
            <a:endParaRPr lang="en-US"/>
          </a:p>
        </p:txBody>
      </p:sp>
    </p:spTree>
    <p:extLst>
      <p:ext uri="{BB962C8B-B14F-4D97-AF65-F5344CB8AC3E}">
        <p14:creationId xmlns:p14="http://schemas.microsoft.com/office/powerpoint/2010/main" val="377267888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ength of Credit History looks at how long your credit accounts have been open. This includes the age of your oldest account, the age of your newest account, and an average of all your accounts. The longer your credit history, the bett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One thing I like to point out here: if you have student loans, I know they can feel overwhelming and frustrating in many ways, but as time goes on, student loans actually help a lot of people’s credit scores because they are often open for several years. This contributes positively to the length of credit history portion of your credit score! A small silver lining to having student loans for several years </a:t>
            </a:r>
            <a:r>
              <a:rPr lang="en-US" dirty="0">
                <a:sym typeface="Wingdings" panose="05000000000000000000" pitchFamily="2" charset="2"/>
              </a:rPr>
              <a:t> </a:t>
            </a:r>
            <a:endParaRPr lang="en-US" dirty="0"/>
          </a:p>
          <a:p>
            <a:endParaRPr lang="en-US" dirty="0"/>
          </a:p>
        </p:txBody>
      </p:sp>
      <p:sp>
        <p:nvSpPr>
          <p:cNvPr id="4" name="Slide Number Placeholder 3"/>
          <p:cNvSpPr>
            <a:spLocks noGrp="1"/>
          </p:cNvSpPr>
          <p:nvPr>
            <p:ph type="sldNum" sz="quarter" idx="5"/>
          </p:nvPr>
        </p:nvSpPr>
        <p:spPr/>
        <p:txBody>
          <a:bodyPr/>
          <a:lstStyle/>
          <a:p>
            <a:fld id="{454E303A-2034-4BD8-8C21-0B8FFE3DE7D4}" type="slidenum">
              <a:rPr lang="en-US" smtClean="0"/>
              <a:t>35</a:t>
            </a:fld>
            <a:endParaRPr lang="en-US"/>
          </a:p>
        </p:txBody>
      </p:sp>
    </p:spTree>
    <p:extLst>
      <p:ext uri="{BB962C8B-B14F-4D97-AF65-F5344CB8AC3E}">
        <p14:creationId xmlns:p14="http://schemas.microsoft.com/office/powerpoint/2010/main" val="28855602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p next is New Credit, which is also known as hard inquiries. When you apply for credit, the creditor will typically do what is called a hard inquiry, which is when they dive deeper into your credit report and credit score to assess their risk. If you start applying for multiple new forms of credit frequently, this can be a red flag to creditors because they start to wonder what is going on that you suddenly need a new credit card one month, a new loan the next month, and now you are asking for another new credit card this month.</a:t>
            </a:r>
          </a:p>
          <a:p>
            <a:endParaRPr lang="en-US" dirty="0"/>
          </a:p>
          <a:p>
            <a:r>
              <a:rPr lang="en-US" dirty="0"/>
              <a:t>Of course, we typically all need to apply for credit from time to time, which is understood. The key is being strategic with when you do apply, limiting those hard inquiries to only when you need it. Hard inquiries typically remain on your credit report for 2 years. </a:t>
            </a:r>
          </a:p>
          <a:p>
            <a:endParaRPr lang="en-US" dirty="0"/>
          </a:p>
        </p:txBody>
      </p:sp>
      <p:sp>
        <p:nvSpPr>
          <p:cNvPr id="4" name="Slide Number Placeholder 3"/>
          <p:cNvSpPr>
            <a:spLocks noGrp="1"/>
          </p:cNvSpPr>
          <p:nvPr>
            <p:ph type="sldNum" sz="quarter" idx="5"/>
          </p:nvPr>
        </p:nvSpPr>
        <p:spPr/>
        <p:txBody>
          <a:bodyPr/>
          <a:lstStyle/>
          <a:p>
            <a:fld id="{454E303A-2034-4BD8-8C21-0B8FFE3DE7D4}" type="slidenum">
              <a:rPr lang="en-US" smtClean="0"/>
              <a:t>36</a:t>
            </a:fld>
            <a:endParaRPr lang="en-US"/>
          </a:p>
        </p:txBody>
      </p:sp>
    </p:spTree>
    <p:extLst>
      <p:ext uri="{BB962C8B-B14F-4D97-AF65-F5344CB8AC3E}">
        <p14:creationId xmlns:p14="http://schemas.microsoft.com/office/powerpoint/2010/main" val="114925499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finally, Credit Mix is the last factor that impacts your credit score. Creditors want to see that you have a history of managing different forms of credit at the same time – for example, maybe a credit card and a car loan and a student loan. This is one of the smallest factors impacting your score, but it can help to have a well-rounded mixture of types of credit when they are all managed responsibly</a:t>
            </a:r>
          </a:p>
        </p:txBody>
      </p:sp>
      <p:sp>
        <p:nvSpPr>
          <p:cNvPr id="4" name="Slide Number Placeholder 3"/>
          <p:cNvSpPr>
            <a:spLocks noGrp="1"/>
          </p:cNvSpPr>
          <p:nvPr>
            <p:ph type="sldNum" sz="quarter" idx="5"/>
          </p:nvPr>
        </p:nvSpPr>
        <p:spPr/>
        <p:txBody>
          <a:bodyPr/>
          <a:lstStyle/>
          <a:p>
            <a:fld id="{454E303A-2034-4BD8-8C21-0B8FFE3DE7D4}" type="slidenum">
              <a:rPr lang="en-US" smtClean="0"/>
              <a:t>37</a:t>
            </a:fld>
            <a:endParaRPr lang="en-US"/>
          </a:p>
        </p:txBody>
      </p:sp>
    </p:spTree>
    <p:extLst>
      <p:ext uri="{BB962C8B-B14F-4D97-AF65-F5344CB8AC3E}">
        <p14:creationId xmlns:p14="http://schemas.microsoft.com/office/powerpoint/2010/main" val="241423865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ile some factors weigh heavier than others, all five factors impact your score and are worth paying attention to. </a:t>
            </a:r>
          </a:p>
          <a:p>
            <a:endParaRPr lang="en-US" dirty="0"/>
          </a:p>
        </p:txBody>
      </p:sp>
      <p:sp>
        <p:nvSpPr>
          <p:cNvPr id="4" name="Slide Number Placeholder 3"/>
          <p:cNvSpPr>
            <a:spLocks noGrp="1"/>
          </p:cNvSpPr>
          <p:nvPr>
            <p:ph type="sldNum" sz="quarter" idx="5"/>
          </p:nvPr>
        </p:nvSpPr>
        <p:spPr/>
        <p:txBody>
          <a:bodyPr/>
          <a:lstStyle/>
          <a:p>
            <a:fld id="{454E303A-2034-4BD8-8C21-0B8FFE3DE7D4}" type="slidenum">
              <a:rPr lang="en-US" smtClean="0"/>
              <a:t>38</a:t>
            </a:fld>
            <a:endParaRPr lang="en-US"/>
          </a:p>
        </p:txBody>
      </p:sp>
    </p:spTree>
    <p:extLst>
      <p:ext uri="{BB962C8B-B14F-4D97-AF65-F5344CB8AC3E}">
        <p14:creationId xmlns:p14="http://schemas.microsoft.com/office/powerpoint/2010/main" val="37184848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if you are starting from scratch, how </a:t>
            </a:r>
            <a:r>
              <a:rPr lang="en-US" b="1" i="1" dirty="0"/>
              <a:t>DOES</a:t>
            </a:r>
            <a:r>
              <a:rPr lang="en-US" dirty="0"/>
              <a:t> someone establish and/or build credit history? </a:t>
            </a:r>
          </a:p>
          <a:p>
            <a:endParaRPr lang="en-US" dirty="0"/>
          </a:p>
          <a:p>
            <a:r>
              <a:rPr lang="en-US" dirty="0"/>
              <a:t>One of the first things I always want people to know is that building credit history absolutely does NOT have to mean going into a bunch of debt! It is absolutely possible to build credit history without carrying large debt balances and paying a bunch of interest. How? I’m so glad you asked! </a:t>
            </a:r>
          </a:p>
          <a:p>
            <a:endParaRPr lang="en-US" dirty="0"/>
          </a:p>
        </p:txBody>
      </p:sp>
      <p:sp>
        <p:nvSpPr>
          <p:cNvPr id="4" name="Slide Number Placeholder 3"/>
          <p:cNvSpPr>
            <a:spLocks noGrp="1"/>
          </p:cNvSpPr>
          <p:nvPr>
            <p:ph type="sldNum" sz="quarter" idx="5"/>
          </p:nvPr>
        </p:nvSpPr>
        <p:spPr/>
        <p:txBody>
          <a:bodyPr/>
          <a:lstStyle/>
          <a:p>
            <a:fld id="{454E303A-2034-4BD8-8C21-0B8FFE3DE7D4}" type="slidenum">
              <a:rPr lang="en-US" smtClean="0"/>
              <a:t>39</a:t>
            </a:fld>
            <a:endParaRPr lang="en-US"/>
          </a:p>
        </p:txBody>
      </p:sp>
    </p:spTree>
    <p:extLst>
      <p:ext uri="{BB962C8B-B14F-4D97-AF65-F5344CB8AC3E}">
        <p14:creationId xmlns:p14="http://schemas.microsoft.com/office/powerpoint/2010/main" val="177257343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 know how you have to have experience to get a job, but at the same time, how do you get experience without being able to get a job? Credit can feel kind of the same. Creditors want to see credit history to measure the risk level of extending credit to you, but how can you get credit history without having credit extended to you? </a:t>
            </a:r>
          </a:p>
          <a:p>
            <a:endParaRPr lang="en-US" dirty="0"/>
          </a:p>
          <a:p>
            <a:r>
              <a:rPr lang="en-US" dirty="0"/>
              <a:t>Similar to getting an entry-level job to start building job experience, there are credit building products that are specifically designed to help you start building credit history, with protections in place to help minimize the creditor’s risk. Let’s take a closer look at these credit building products. </a:t>
            </a:r>
          </a:p>
        </p:txBody>
      </p:sp>
      <p:sp>
        <p:nvSpPr>
          <p:cNvPr id="4" name="Slide Number Placeholder 3"/>
          <p:cNvSpPr>
            <a:spLocks noGrp="1"/>
          </p:cNvSpPr>
          <p:nvPr>
            <p:ph type="sldNum" sz="quarter" idx="5"/>
          </p:nvPr>
        </p:nvSpPr>
        <p:spPr/>
        <p:txBody>
          <a:bodyPr/>
          <a:lstStyle/>
          <a:p>
            <a:fld id="{454E303A-2034-4BD8-8C21-0B8FFE3DE7D4}" type="slidenum">
              <a:rPr lang="en-US" smtClean="0"/>
              <a:t>40</a:t>
            </a:fld>
            <a:endParaRPr lang="en-US"/>
          </a:p>
        </p:txBody>
      </p:sp>
    </p:spTree>
    <p:extLst>
      <p:ext uri="{BB962C8B-B14F-4D97-AF65-F5344CB8AC3E}">
        <p14:creationId xmlns:p14="http://schemas.microsoft.com/office/powerpoint/2010/main" val="152276965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e way to build credit is a secured credit card which requires a cash security deposit to open the account. This security deposit reduces the risk to the lender because if you don’t pay your card, they have the money from your deposit to cover it. People with no credit or bad credit often must start with a secured credit card to build or establish credit. </a:t>
            </a:r>
          </a:p>
          <a:p>
            <a:endParaRPr lang="en-US" dirty="0"/>
          </a:p>
          <a:p>
            <a:r>
              <a:rPr lang="en-US" dirty="0"/>
              <a:t>Deposits are generally low, on average anywhere from $200-$500 but they can be higher. With a secured card, you are still required to make a monthly payment on time to build that positive payment history. Your deposit is not used to pay for purchases, and you are charged interest on the balance you carry over to the next month so it’s ideal to pay the full balance off every month to avoid interest. I recommend picking one small, budgeted expense you know you’ll pay every month anyways – maybe it’s a Netflix subscription, or gas for the car – but I guess that’s not a small expense these days! – something you’ll pay for regardless that is in your budget so you know you can afford to easily pay the balance in full when your statement cycles. </a:t>
            </a:r>
          </a:p>
          <a:p>
            <a:endParaRPr lang="en-US" dirty="0"/>
          </a:p>
          <a:p>
            <a:r>
              <a:rPr lang="en-US" dirty="0"/>
              <a:t>I like to think of a secured credit card like getting an apartment. When you sign a lease, you typically have to put down at least one month’s rent as a security deposit. The landlord holds on to that deposit as long as you keep paying your rent every month and you eventually get it back, but if you don’t pay, they keep that deposit to cover it. Same thing with a secured credit card: you put that deposit down, you get a credit card, you use it and get a bill each month, and you pay that bill each month. If you max that card out and don’t pay, however, the creditor has that deposit to cover their losses just like a landlord may use your security deposit to cover rent if you don’t pay. </a:t>
            </a:r>
          </a:p>
        </p:txBody>
      </p:sp>
      <p:sp>
        <p:nvSpPr>
          <p:cNvPr id="4" name="Slide Number Placeholder 3"/>
          <p:cNvSpPr>
            <a:spLocks noGrp="1"/>
          </p:cNvSpPr>
          <p:nvPr>
            <p:ph type="sldNum" sz="quarter" idx="5"/>
          </p:nvPr>
        </p:nvSpPr>
        <p:spPr/>
        <p:txBody>
          <a:bodyPr/>
          <a:lstStyle/>
          <a:p>
            <a:fld id="{454E303A-2034-4BD8-8C21-0B8FFE3DE7D4}" type="slidenum">
              <a:rPr lang="en-US" smtClean="0"/>
              <a:t>41</a:t>
            </a:fld>
            <a:endParaRPr lang="en-US"/>
          </a:p>
        </p:txBody>
      </p:sp>
    </p:spTree>
    <p:extLst>
      <p:ext uri="{BB962C8B-B14F-4D97-AF65-F5344CB8AC3E}">
        <p14:creationId xmlns:p14="http://schemas.microsoft.com/office/powerpoint/2010/main" val="41823776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REMEMBER TO RECORD!!!*** </a:t>
            </a:r>
          </a:p>
          <a:p>
            <a:endParaRPr lang="en-US" b="1" dirty="0"/>
          </a:p>
          <a:p>
            <a:r>
              <a:rPr lang="en-US" b="0" dirty="0"/>
              <a:t>Good afternoon, everyone, and thank you for joining us for this Wintersession: Managing Credit! I want to thank everyone at Harvard University Employees CU for the invitation to join you all today to talk about one of my all-time favorite topics to present about: credit! </a:t>
            </a:r>
          </a:p>
          <a:p>
            <a:endParaRPr lang="en-US" dirty="0"/>
          </a:p>
        </p:txBody>
      </p:sp>
      <p:sp>
        <p:nvSpPr>
          <p:cNvPr id="4" name="Slide Number Placeholder 3"/>
          <p:cNvSpPr>
            <a:spLocks noGrp="1"/>
          </p:cNvSpPr>
          <p:nvPr>
            <p:ph type="sldNum" sz="quarter" idx="5"/>
          </p:nvPr>
        </p:nvSpPr>
        <p:spPr/>
        <p:txBody>
          <a:bodyPr/>
          <a:lstStyle/>
          <a:p>
            <a:fld id="{454E303A-2034-4BD8-8C21-0B8FFE3DE7D4}" type="slidenum">
              <a:rPr lang="en-US" smtClean="0"/>
              <a:t>6</a:t>
            </a:fld>
            <a:endParaRPr lang="en-US"/>
          </a:p>
        </p:txBody>
      </p:sp>
    </p:spTree>
    <p:extLst>
      <p:ext uri="{BB962C8B-B14F-4D97-AF65-F5344CB8AC3E}">
        <p14:creationId xmlns:p14="http://schemas.microsoft.com/office/powerpoint/2010/main" val="38538933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You can also use secured loans as a way to build credit. HUECU offers two options – a share secured or CD secured loan. The loan is secured by funds held in either your share savings account or a Certificate of Deposit and allows you to build credit history. Same thing – you make monthly payments on this loan as agreed, building up positive history. If you weren’t to make payments as agreed, the credit union has permission to take those funds in your share savings or CD to cover their losses. </a:t>
            </a:r>
          </a:p>
        </p:txBody>
      </p:sp>
      <p:sp>
        <p:nvSpPr>
          <p:cNvPr id="4" name="Slide Number Placeholder 3"/>
          <p:cNvSpPr>
            <a:spLocks noGrp="1"/>
          </p:cNvSpPr>
          <p:nvPr>
            <p:ph type="sldNum" sz="quarter" idx="5"/>
          </p:nvPr>
        </p:nvSpPr>
        <p:spPr/>
        <p:txBody>
          <a:bodyPr/>
          <a:lstStyle/>
          <a:p>
            <a:fld id="{454E303A-2034-4BD8-8C21-0B8FFE3DE7D4}" type="slidenum">
              <a:rPr lang="en-US" smtClean="0"/>
              <a:t>42</a:t>
            </a:fld>
            <a:endParaRPr lang="en-US"/>
          </a:p>
        </p:txBody>
      </p:sp>
    </p:spTree>
    <p:extLst>
      <p:ext uri="{BB962C8B-B14F-4D97-AF65-F5344CB8AC3E}">
        <p14:creationId xmlns:p14="http://schemas.microsoft.com/office/powerpoint/2010/main" val="377637523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someone you trust has a credit card in their name, they could add you as an authorized user to start building some credit history. Typically, accounts where you are an owner have more impact on your credit, but being added as an authorized user can be a good way to start establishing some history.  </a:t>
            </a:r>
          </a:p>
          <a:p>
            <a:endParaRPr lang="en-US" dirty="0"/>
          </a:p>
          <a:p>
            <a:r>
              <a:rPr lang="en-US" dirty="0"/>
              <a:t>There is some inherent risk in this, because if the individual maxes the card out or misses a payment this can negatively impact your credit as well, but if you trust the person this can be a good option to start establishing some credit history until you are able to get an account in your name. </a:t>
            </a:r>
          </a:p>
          <a:p>
            <a:endParaRPr lang="en-US" dirty="0"/>
          </a:p>
        </p:txBody>
      </p:sp>
      <p:sp>
        <p:nvSpPr>
          <p:cNvPr id="4" name="Slide Number Placeholder 3"/>
          <p:cNvSpPr>
            <a:spLocks noGrp="1"/>
          </p:cNvSpPr>
          <p:nvPr>
            <p:ph type="sldNum" sz="quarter" idx="5"/>
          </p:nvPr>
        </p:nvSpPr>
        <p:spPr/>
        <p:txBody>
          <a:bodyPr/>
          <a:lstStyle/>
          <a:p>
            <a:fld id="{454E303A-2034-4BD8-8C21-0B8FFE3DE7D4}" type="slidenum">
              <a:rPr lang="en-US" smtClean="0"/>
              <a:t>43</a:t>
            </a:fld>
            <a:endParaRPr lang="en-US"/>
          </a:p>
        </p:txBody>
      </p:sp>
    </p:spTree>
    <p:extLst>
      <p:ext uri="{BB962C8B-B14F-4D97-AF65-F5344CB8AC3E}">
        <p14:creationId xmlns:p14="http://schemas.microsoft.com/office/powerpoint/2010/main" val="320216131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f you are in a situation where you have had credit history in the past, then life happened, your credit suffered, and you are now looking to re-build positive credit or “clean up your credit”: know that it is absolutely possible to do so! It will require some patience, but many of the same strategies we just talked about to build credit from scratch can apply to re-building credit after something like a bankruptcy, foreclosure, or repossession, or if you simply haven’t used credit for 5-10 years or longer. </a:t>
            </a:r>
          </a:p>
          <a:p>
            <a:endParaRPr lang="en-US" dirty="0"/>
          </a:p>
        </p:txBody>
      </p:sp>
      <p:sp>
        <p:nvSpPr>
          <p:cNvPr id="4" name="Slide Number Placeholder 3"/>
          <p:cNvSpPr>
            <a:spLocks noGrp="1"/>
          </p:cNvSpPr>
          <p:nvPr>
            <p:ph type="sldNum" sz="quarter" idx="5"/>
          </p:nvPr>
        </p:nvSpPr>
        <p:spPr/>
        <p:txBody>
          <a:bodyPr/>
          <a:lstStyle/>
          <a:p>
            <a:fld id="{454E303A-2034-4BD8-8C21-0B8FFE3DE7D4}" type="slidenum">
              <a:rPr lang="en-US" smtClean="0"/>
              <a:t>44</a:t>
            </a:fld>
            <a:endParaRPr lang="en-US"/>
          </a:p>
        </p:txBody>
      </p:sp>
    </p:spTree>
    <p:extLst>
      <p:ext uri="{BB962C8B-B14F-4D97-AF65-F5344CB8AC3E}">
        <p14:creationId xmlns:p14="http://schemas.microsoft.com/office/powerpoint/2010/main" val="114108230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you are looking to re-build positive credit and you still have outstanding balances owed, prioritize paying those off. If you have collections, or charge-offs (which is when an account falls far enough past due that the creditor begins attempting to collect the full balance owed instead of just the amount past due. They are essentially collection accounts), work on a plan to get those paid off. It’s possible to improve your credit with outstanding past due balances hanging out on your credit, but it’s much more challenging to do so and you can only go so far with those balances holding you back. </a:t>
            </a:r>
          </a:p>
          <a:p>
            <a:endParaRPr lang="en-US" dirty="0"/>
          </a:p>
        </p:txBody>
      </p:sp>
      <p:sp>
        <p:nvSpPr>
          <p:cNvPr id="4" name="Slide Number Placeholder 3"/>
          <p:cNvSpPr>
            <a:spLocks noGrp="1"/>
          </p:cNvSpPr>
          <p:nvPr>
            <p:ph type="sldNum" sz="quarter" idx="5"/>
          </p:nvPr>
        </p:nvSpPr>
        <p:spPr/>
        <p:txBody>
          <a:bodyPr/>
          <a:lstStyle/>
          <a:p>
            <a:fld id="{454E303A-2034-4BD8-8C21-0B8FFE3DE7D4}" type="slidenum">
              <a:rPr lang="en-US" smtClean="0"/>
              <a:t>45</a:t>
            </a:fld>
            <a:endParaRPr lang="en-US"/>
          </a:p>
        </p:txBody>
      </p:sp>
    </p:spTree>
    <p:extLst>
      <p:ext uri="{BB962C8B-B14F-4D97-AF65-F5344CB8AC3E}">
        <p14:creationId xmlns:p14="http://schemas.microsoft.com/office/powerpoint/2010/main" val="76009715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ame credit building products we just talked about – secured credit cards and credit building loans – and being added as an authorized user are good options to start re-building credit as well. Typically, you can start using a secured credit card and/or credit building loan while working on paying off old balances. It’s a good idea to do this hand in hand – begin building new positive credit history while working on clearing up old obligations holding your credit back as well. </a:t>
            </a:r>
          </a:p>
        </p:txBody>
      </p:sp>
      <p:sp>
        <p:nvSpPr>
          <p:cNvPr id="4" name="Slide Number Placeholder 3"/>
          <p:cNvSpPr>
            <a:spLocks noGrp="1"/>
          </p:cNvSpPr>
          <p:nvPr>
            <p:ph type="sldNum" sz="quarter" idx="5"/>
          </p:nvPr>
        </p:nvSpPr>
        <p:spPr/>
        <p:txBody>
          <a:bodyPr/>
          <a:lstStyle/>
          <a:p>
            <a:fld id="{454E303A-2034-4BD8-8C21-0B8FFE3DE7D4}" type="slidenum">
              <a:rPr lang="en-US" smtClean="0"/>
              <a:t>46</a:t>
            </a:fld>
            <a:endParaRPr lang="en-US"/>
          </a:p>
        </p:txBody>
      </p:sp>
    </p:spTree>
    <p:extLst>
      <p:ext uri="{BB962C8B-B14F-4D97-AF65-F5344CB8AC3E}">
        <p14:creationId xmlns:p14="http://schemas.microsoft.com/office/powerpoint/2010/main" val="16029244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art of the reason that building credit can feel so overwhelming is that there is a lot of conflicting information out there, and some of the information out there is flat out not true. Let’s take a look at a few of the most common credit myths and why they are not necessarily true. </a:t>
            </a:r>
          </a:p>
          <a:p>
            <a:endParaRPr lang="en-US" dirty="0"/>
          </a:p>
        </p:txBody>
      </p:sp>
      <p:sp>
        <p:nvSpPr>
          <p:cNvPr id="4" name="Slide Number Placeholder 3"/>
          <p:cNvSpPr>
            <a:spLocks noGrp="1"/>
          </p:cNvSpPr>
          <p:nvPr>
            <p:ph type="sldNum" sz="quarter" idx="5"/>
          </p:nvPr>
        </p:nvSpPr>
        <p:spPr/>
        <p:txBody>
          <a:bodyPr/>
          <a:lstStyle/>
          <a:p>
            <a:fld id="{454E303A-2034-4BD8-8C21-0B8FFE3DE7D4}" type="slidenum">
              <a:rPr lang="en-US" smtClean="0"/>
              <a:t>47</a:t>
            </a:fld>
            <a:endParaRPr lang="en-US"/>
          </a:p>
        </p:txBody>
      </p:sp>
    </p:spTree>
    <p:extLst>
      <p:ext uri="{BB962C8B-B14F-4D97-AF65-F5344CB8AC3E}">
        <p14:creationId xmlns:p14="http://schemas.microsoft.com/office/powerpoint/2010/main" val="166795562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rst, one of the most common credit score myths is that you have to carry a credit card balance from month to month in order to build credit. Not only is this not true, but it is a myth that can actually cost you money! When you get your credit card statement every month, there is a statement balance and a minimum payment due. To avoid a late payment, you need to pay at least the minimum payment due by the due date. However, if you only pay the minimum payment and there is a difference between that number and the statement balance, when your next statement cycles you will typically owe interest on the statement balance amount you did not pay. For example, if your statement balance was $50 and your minimum payment due was $20 – if you pay $20, you’ve made your payment obligation BUT when your next statement cycles, you will be charged interest on that $30 difference. If you pay the full $50 statement balance, you will typically not be charged any interest. </a:t>
            </a:r>
          </a:p>
          <a:p>
            <a:endParaRPr lang="en-US" dirty="0"/>
          </a:p>
          <a:p>
            <a:r>
              <a:rPr lang="en-US" dirty="0"/>
              <a:t>Some people believe they must only pay that minimum payment and make sure they are carrying a balance into the next month to build credit and that is simply not true. We encourage you to get in the habit of paying off the entire statement balance you owe in full when you get your statement each month – this saves you money on interest charges and will help you keep your balances lower, which improves credit utilization. Remember, credit cards are NOT extra money. </a:t>
            </a:r>
          </a:p>
          <a:p>
            <a:endParaRPr lang="en-US" dirty="0"/>
          </a:p>
        </p:txBody>
      </p:sp>
      <p:sp>
        <p:nvSpPr>
          <p:cNvPr id="4" name="Slide Number Placeholder 3"/>
          <p:cNvSpPr>
            <a:spLocks noGrp="1"/>
          </p:cNvSpPr>
          <p:nvPr>
            <p:ph type="sldNum" sz="quarter" idx="5"/>
          </p:nvPr>
        </p:nvSpPr>
        <p:spPr/>
        <p:txBody>
          <a:bodyPr/>
          <a:lstStyle/>
          <a:p>
            <a:fld id="{454E303A-2034-4BD8-8C21-0B8FFE3DE7D4}" type="slidenum">
              <a:rPr lang="en-US" smtClean="0"/>
              <a:t>48</a:t>
            </a:fld>
            <a:endParaRPr lang="en-US"/>
          </a:p>
        </p:txBody>
      </p:sp>
    </p:spTree>
    <p:extLst>
      <p:ext uri="{BB962C8B-B14F-4D97-AF65-F5344CB8AC3E}">
        <p14:creationId xmlns:p14="http://schemas.microsoft.com/office/powerpoint/2010/main" val="253874098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ile technically having more available credit limits can help improve your credit utilization, this is a dangerous game to play. When you open a new credit card, you have a new hard inquiry and you have a younger account in your length of credit history – both of which can negatively impact your credit score. Also, the more credit cards you have, the trickier it can be to keep track of due dates and make all payments on time, and there is more potential for you to get in over your head with balances spread across multiple cards. While there is no magic number of cards that it best to have, no more than 2 or 3 is typically recommended. Remember that a mix of types of credit open helps your credit score as well, so having a couple of credit cards AND maybe a loan of some type or two can help improve your credit mix more than just having multiple credit cards. </a:t>
            </a:r>
          </a:p>
        </p:txBody>
      </p:sp>
      <p:sp>
        <p:nvSpPr>
          <p:cNvPr id="4" name="Slide Number Placeholder 3"/>
          <p:cNvSpPr>
            <a:spLocks noGrp="1"/>
          </p:cNvSpPr>
          <p:nvPr>
            <p:ph type="sldNum" sz="quarter" idx="5"/>
          </p:nvPr>
        </p:nvSpPr>
        <p:spPr/>
        <p:txBody>
          <a:bodyPr/>
          <a:lstStyle/>
          <a:p>
            <a:fld id="{454E303A-2034-4BD8-8C21-0B8FFE3DE7D4}" type="slidenum">
              <a:rPr lang="en-US" smtClean="0"/>
              <a:t>49</a:t>
            </a:fld>
            <a:endParaRPr lang="en-US"/>
          </a:p>
        </p:txBody>
      </p:sp>
    </p:spTree>
    <p:extLst>
      <p:ext uri="{BB962C8B-B14F-4D97-AF65-F5344CB8AC3E}">
        <p14:creationId xmlns:p14="http://schemas.microsoft.com/office/powerpoint/2010/main" val="284296055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 people think after paying off a credit card, they should close it. This can negatively impact your credit score. You will lose the length of history from that card, and it can impact your utilization. Once you open a credit card, it is best to keep open, as long as you are managing the card responsibly. Even if you don’t plan to use it for much, consider setting up a small recurring expense like a monthly subscription or using it for a specific purpose like gasoline and paying it in full each month to keep the card active and continue to build on that account’s history. </a:t>
            </a:r>
          </a:p>
          <a:p>
            <a:endParaRPr lang="en-US" dirty="0"/>
          </a:p>
          <a:p>
            <a:r>
              <a:rPr lang="en-US" dirty="0"/>
              <a:t>If keeping the card open is a temptation to rack up the balances or you know you’ll fall behind on payments, by all means – close that card! You have to weigh pros and cons like that and do what’s best for your finances across the board. Yes, closing the card may have some initial negative impact on your credit score, but carrying a high balance or being late on payments would typically have a much more substantial negative impact. Like we talked about earlier, a credit score is not a financial health score and this is a prime example of sometimes having to take a bit of a credit score hit potentially to maintain your financial health across the board. </a:t>
            </a:r>
          </a:p>
        </p:txBody>
      </p:sp>
      <p:sp>
        <p:nvSpPr>
          <p:cNvPr id="4" name="Slide Number Placeholder 3"/>
          <p:cNvSpPr>
            <a:spLocks noGrp="1"/>
          </p:cNvSpPr>
          <p:nvPr>
            <p:ph type="sldNum" sz="quarter" idx="5"/>
          </p:nvPr>
        </p:nvSpPr>
        <p:spPr/>
        <p:txBody>
          <a:bodyPr/>
          <a:lstStyle/>
          <a:p>
            <a:fld id="{454E303A-2034-4BD8-8C21-0B8FFE3DE7D4}" type="slidenum">
              <a:rPr lang="en-US" smtClean="0"/>
              <a:t>50</a:t>
            </a:fld>
            <a:endParaRPr lang="en-US"/>
          </a:p>
        </p:txBody>
      </p:sp>
    </p:spTree>
    <p:extLst>
      <p:ext uri="{BB962C8B-B14F-4D97-AF65-F5344CB8AC3E}">
        <p14:creationId xmlns:p14="http://schemas.microsoft.com/office/powerpoint/2010/main" val="399599674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We talked earlier about reviewing your credit report and the differences in credit score monitoring tools. We also talked about how applying for credit leads to a hard inquiry, which can start to negatively impact your credit score, so some people believe that checking your own credit will also hurt your credit score. </a:t>
            </a:r>
          </a:p>
          <a:p>
            <a:endParaRPr lang="en-US" b="0" dirty="0"/>
          </a:p>
          <a:p>
            <a:r>
              <a:rPr lang="en-US" b="0" dirty="0"/>
              <a:t>There are 2 types of credit inquiries: a hard inquiry, which is what a creditor or lender typically will do to dive deep into your credit history and measure their risk level of extending the credit you are requesting. A hard inquiry indicates you have applied for credit and, as we discussed earlier, can start to negatively impact your credit score if done too often. </a:t>
            </a:r>
          </a:p>
          <a:p>
            <a:endParaRPr lang="en-US" b="0" dirty="0"/>
          </a:p>
          <a:p>
            <a:r>
              <a:rPr lang="en-US" b="0" dirty="0"/>
              <a:t>When you check your own credit for educational/monitoring purposes, however, this is what is called a soft inquiry and it does not impact your credit score. Here at GreenPath, our Financial Wellness Experts review hundreds of soft pulled credit reports with people every day – it is really important to review your credit reports and keep an eye on your credit score so you can react quickly if you notice fraud or if something just doesn’t seem right. The good news is that you are absolutely free to do this without concern about it impacting your credit score. </a:t>
            </a:r>
          </a:p>
        </p:txBody>
      </p:sp>
      <p:sp>
        <p:nvSpPr>
          <p:cNvPr id="4" name="Slide Number Placeholder 3"/>
          <p:cNvSpPr>
            <a:spLocks noGrp="1"/>
          </p:cNvSpPr>
          <p:nvPr>
            <p:ph type="sldNum" sz="quarter" idx="5"/>
          </p:nvPr>
        </p:nvSpPr>
        <p:spPr/>
        <p:txBody>
          <a:bodyPr/>
          <a:lstStyle/>
          <a:p>
            <a:fld id="{454E303A-2034-4BD8-8C21-0B8FFE3DE7D4}" type="slidenum">
              <a:rPr lang="en-US" smtClean="0"/>
              <a:t>51</a:t>
            </a:fld>
            <a:endParaRPr lang="en-US"/>
          </a:p>
        </p:txBody>
      </p:sp>
    </p:spTree>
    <p:extLst>
      <p:ext uri="{BB962C8B-B14F-4D97-AF65-F5344CB8AC3E}">
        <p14:creationId xmlns:p14="http://schemas.microsoft.com/office/powerpoint/2010/main" val="24544875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baseline="0" dirty="0"/>
              <a:t>GreenPath is a nonprofit organization that has been empowering people to lead financially healthy lives since 1961. GreenPath is a credit counseling agency certified by the National Foundation for Credit, and we are also certified by HUD as a housing counseling agency as well. For more than 6 decades, we have been helping people understand and build credit, manage debt, obtain and/or retain housing, and so much more. I personally hold both NFCC credit counseling and HUD housing counseling certifications, and I am thrilled for the chance to talk about the somewhat confusing but oh-so-important topic of credit with you today! </a:t>
            </a:r>
            <a:endParaRPr lang="en-US" b="1" dirty="0"/>
          </a:p>
        </p:txBody>
      </p:sp>
      <p:sp>
        <p:nvSpPr>
          <p:cNvPr id="4" name="Slide Number Placeholder 3"/>
          <p:cNvSpPr>
            <a:spLocks noGrp="1"/>
          </p:cNvSpPr>
          <p:nvPr>
            <p:ph type="sldNum" sz="quarter" idx="5"/>
          </p:nvPr>
        </p:nvSpPr>
        <p:spPr/>
        <p:txBody>
          <a:bodyPr/>
          <a:lstStyle/>
          <a:p>
            <a:fld id="{863F785C-F93D-4343-BB7F-99EBCC4696DA}"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71657091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As we wrap up today – whether you are building credit history from scratch, re-building credit following a setback, or just want to continue to maintain a good credit score, there are some important healthy credit habits that are important to practice. </a:t>
            </a:r>
          </a:p>
        </p:txBody>
      </p:sp>
      <p:sp>
        <p:nvSpPr>
          <p:cNvPr id="4" name="Slide Number Placeholder 3"/>
          <p:cNvSpPr>
            <a:spLocks noGrp="1"/>
          </p:cNvSpPr>
          <p:nvPr>
            <p:ph type="sldNum" sz="quarter" idx="5"/>
          </p:nvPr>
        </p:nvSpPr>
        <p:spPr/>
        <p:txBody>
          <a:bodyPr/>
          <a:lstStyle/>
          <a:p>
            <a:fld id="{454E303A-2034-4BD8-8C21-0B8FFE3DE7D4}" type="slidenum">
              <a:rPr lang="en-US" smtClean="0"/>
              <a:t>52</a:t>
            </a:fld>
            <a:endParaRPr lang="en-US"/>
          </a:p>
        </p:txBody>
      </p:sp>
    </p:spTree>
    <p:extLst>
      <p:ext uri="{BB962C8B-B14F-4D97-AF65-F5344CB8AC3E}">
        <p14:creationId xmlns:p14="http://schemas.microsoft.com/office/powerpoint/2010/main" val="125718652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we discussed earlier, payment history is the largest factor that impacts your payment history. Missing or being late on just one payment can have a quick negative impact on your credit score, and it will take a while to build back from the drop. </a:t>
            </a:r>
          </a:p>
          <a:p>
            <a:endParaRPr lang="en-US" dirty="0"/>
          </a:p>
          <a:p>
            <a:r>
              <a:rPr lang="en-US" dirty="0"/>
              <a:t>This is why it is so important to make every payment on time every month. If you are concerned about keeping track of due dates, I absolutely recommend setting up automatic payments so you make sure your bills are paid on time every month. </a:t>
            </a:r>
          </a:p>
          <a:p>
            <a:endParaRPr lang="en-US" dirty="0"/>
          </a:p>
          <a:p>
            <a:r>
              <a:rPr lang="en-US" dirty="0"/>
              <a:t>If you have student loans, it will be especially important to communicate with your loan servicer and get payment arrangements in place before payments start being due. For federal loans, there is typically a 6 month grace period after you leave school before payments start being due, which gives you time to make arrangements with the servicer to start building that positive payment history. </a:t>
            </a:r>
          </a:p>
        </p:txBody>
      </p:sp>
      <p:sp>
        <p:nvSpPr>
          <p:cNvPr id="4" name="Slide Number Placeholder 3"/>
          <p:cNvSpPr>
            <a:spLocks noGrp="1"/>
          </p:cNvSpPr>
          <p:nvPr>
            <p:ph type="sldNum" sz="quarter" idx="5"/>
          </p:nvPr>
        </p:nvSpPr>
        <p:spPr/>
        <p:txBody>
          <a:bodyPr/>
          <a:lstStyle/>
          <a:p>
            <a:fld id="{454E303A-2034-4BD8-8C21-0B8FFE3DE7D4}" type="slidenum">
              <a:rPr lang="en-US" smtClean="0"/>
              <a:t>53</a:t>
            </a:fld>
            <a:endParaRPr lang="en-US"/>
          </a:p>
        </p:txBody>
      </p:sp>
    </p:spTree>
    <p:extLst>
      <p:ext uri="{BB962C8B-B14F-4D97-AF65-F5344CB8AC3E}">
        <p14:creationId xmlns:p14="http://schemas.microsoft.com/office/powerpoint/2010/main" val="1510038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lso mentioned credit utilization, or where you credit card balance is compared to the maximum limit, is the second largest factor that impacts your credit score. Strive to always keep you balance below 30% of the card’s maximum limit, and if you can keep it below 10%. Ideally pay the card off in full every month.</a:t>
            </a:r>
          </a:p>
          <a:p>
            <a:endParaRPr lang="en-US" dirty="0"/>
          </a:p>
          <a:p>
            <a:r>
              <a:rPr lang="en-US" dirty="0"/>
              <a:t>Again, pick one specific small, budgeted expense to use your card for every month. Use that card just for that purpose, keeping the balance low, and then pay the full balance off when you get your statement for the month. This is a great way to build positive payment history while keeping a low balance and avoiding interest if you pay the full statement balance off monthly. </a:t>
            </a:r>
          </a:p>
        </p:txBody>
      </p:sp>
      <p:sp>
        <p:nvSpPr>
          <p:cNvPr id="4" name="Slide Number Placeholder 3"/>
          <p:cNvSpPr>
            <a:spLocks noGrp="1"/>
          </p:cNvSpPr>
          <p:nvPr>
            <p:ph type="sldNum" sz="quarter" idx="5"/>
          </p:nvPr>
        </p:nvSpPr>
        <p:spPr/>
        <p:txBody>
          <a:bodyPr/>
          <a:lstStyle/>
          <a:p>
            <a:fld id="{454E303A-2034-4BD8-8C21-0B8FFE3DE7D4}" type="slidenum">
              <a:rPr lang="en-US" smtClean="0"/>
              <a:t>54</a:t>
            </a:fld>
            <a:endParaRPr lang="en-US"/>
          </a:p>
        </p:txBody>
      </p:sp>
    </p:spTree>
    <p:extLst>
      <p:ext uri="{BB962C8B-B14F-4D97-AF65-F5344CB8AC3E}">
        <p14:creationId xmlns:p14="http://schemas.microsoft.com/office/powerpoint/2010/main" val="370479233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f course, most of us are going to need to apply for credit from time to time, which is understood. Be sure to be strategic when you do, however, instead of frequently applying for accounts you do not need, which can negatively impact your score. </a:t>
            </a:r>
          </a:p>
          <a:p>
            <a:endParaRPr lang="en-US" dirty="0"/>
          </a:p>
          <a:p>
            <a:r>
              <a:rPr lang="en-US" dirty="0"/>
              <a:t>If you do want to shop around for the best rates on something like a mortgage, get all your ducks in a row and apply with multiple lenders in a short time period to have it count as one hard inquiry instead of multiple. This allows you the opportunity to shop around for the best deal without having more impact to your credit score. </a:t>
            </a:r>
          </a:p>
        </p:txBody>
      </p:sp>
      <p:sp>
        <p:nvSpPr>
          <p:cNvPr id="4" name="Slide Number Placeholder 3"/>
          <p:cNvSpPr>
            <a:spLocks noGrp="1"/>
          </p:cNvSpPr>
          <p:nvPr>
            <p:ph type="sldNum" sz="quarter" idx="5"/>
          </p:nvPr>
        </p:nvSpPr>
        <p:spPr/>
        <p:txBody>
          <a:bodyPr/>
          <a:lstStyle/>
          <a:p>
            <a:fld id="{454E303A-2034-4BD8-8C21-0B8FFE3DE7D4}" type="slidenum">
              <a:rPr lang="en-US" smtClean="0"/>
              <a:t>55</a:t>
            </a:fld>
            <a:endParaRPr lang="en-US"/>
          </a:p>
        </p:txBody>
      </p:sp>
    </p:spTree>
    <p:extLst>
      <p:ext uri="{BB962C8B-B14F-4D97-AF65-F5344CB8AC3E}">
        <p14:creationId xmlns:p14="http://schemas.microsoft.com/office/powerpoint/2010/main" val="343438407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llections can stay on your credit report for up to 7 years, and can have a quick negative impact on your credit score. I have seen everything from car insurance, cell phones, cable equipment that wasn’t returned, medical bills, rental leases broken early, and more sent to collections and weigh heavily on someone’s credit. As a FWE, people tell me all the time that a collection shouldn’t be on there because the bill was paid or it was an error. Taking care of this as soon as you get a past due bill or a notice is so, so important – ignoring it because you don’t think it’s legitimate typically won’t make it magically go away, but CAN make it much harder to take care of later while also weighing heavily on your credit score.</a:t>
            </a:r>
          </a:p>
        </p:txBody>
      </p:sp>
      <p:sp>
        <p:nvSpPr>
          <p:cNvPr id="4" name="Slide Number Placeholder 3"/>
          <p:cNvSpPr>
            <a:spLocks noGrp="1"/>
          </p:cNvSpPr>
          <p:nvPr>
            <p:ph type="sldNum" sz="quarter" idx="5"/>
          </p:nvPr>
        </p:nvSpPr>
        <p:spPr/>
        <p:txBody>
          <a:bodyPr/>
          <a:lstStyle/>
          <a:p>
            <a:fld id="{454E303A-2034-4BD8-8C21-0B8FFE3DE7D4}" type="slidenum">
              <a:rPr lang="en-US" smtClean="0"/>
              <a:t>56</a:t>
            </a:fld>
            <a:endParaRPr lang="en-US"/>
          </a:p>
        </p:txBody>
      </p:sp>
    </p:spTree>
    <p:extLst>
      <p:ext uri="{BB962C8B-B14F-4D97-AF65-F5344CB8AC3E}">
        <p14:creationId xmlns:p14="http://schemas.microsoft.com/office/powerpoint/2010/main" val="109551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your credit reports from ACR annually to ensure everything looks correct and that you are aware of everything that is on there. Take action to dispute inaccurate information as soon as possible. </a:t>
            </a:r>
          </a:p>
        </p:txBody>
      </p:sp>
      <p:sp>
        <p:nvSpPr>
          <p:cNvPr id="4" name="Slide Number Placeholder 3"/>
          <p:cNvSpPr>
            <a:spLocks noGrp="1"/>
          </p:cNvSpPr>
          <p:nvPr>
            <p:ph type="sldNum" sz="quarter" idx="5"/>
          </p:nvPr>
        </p:nvSpPr>
        <p:spPr/>
        <p:txBody>
          <a:bodyPr/>
          <a:lstStyle/>
          <a:p>
            <a:fld id="{454E303A-2034-4BD8-8C21-0B8FFE3DE7D4}" type="slidenum">
              <a:rPr lang="en-US" smtClean="0"/>
              <a:t>57</a:t>
            </a:fld>
            <a:endParaRPr lang="en-US"/>
          </a:p>
        </p:txBody>
      </p:sp>
    </p:spTree>
    <p:extLst>
      <p:ext uri="{BB962C8B-B14F-4D97-AF65-F5344CB8AC3E}">
        <p14:creationId xmlns:p14="http://schemas.microsoft.com/office/powerpoint/2010/main" val="263248218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finally, did we mention making every payment on time every month? This is worth repeating, because it really makes a HUGE difference when it comes to your credit. </a:t>
            </a:r>
          </a:p>
        </p:txBody>
      </p:sp>
      <p:sp>
        <p:nvSpPr>
          <p:cNvPr id="4" name="Slide Number Placeholder 3"/>
          <p:cNvSpPr>
            <a:spLocks noGrp="1"/>
          </p:cNvSpPr>
          <p:nvPr>
            <p:ph type="sldNum" sz="quarter" idx="5"/>
          </p:nvPr>
        </p:nvSpPr>
        <p:spPr/>
        <p:txBody>
          <a:bodyPr/>
          <a:lstStyle/>
          <a:p>
            <a:fld id="{454E303A-2034-4BD8-8C21-0B8FFE3DE7D4}" type="slidenum">
              <a:rPr lang="en-US" smtClean="0"/>
              <a:t>58</a:t>
            </a:fld>
            <a:endParaRPr lang="en-US"/>
          </a:p>
        </p:txBody>
      </p:sp>
    </p:spTree>
    <p:extLst>
      <p:ext uri="{BB962C8B-B14F-4D97-AF65-F5344CB8AC3E}">
        <p14:creationId xmlns:p14="http://schemas.microsoft.com/office/powerpoint/2010/main" val="404737530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200" b="0" kern="1200" dirty="0">
                <a:solidFill>
                  <a:schemeClr val="tx1"/>
                </a:solidFill>
                <a:effectLst/>
                <a:latin typeface="+mn-lt"/>
                <a:ea typeface="+mn-ea"/>
                <a:cs typeface="+mn-cs"/>
              </a:rPr>
              <a:t>If you want to take a closer look at your specific situation, you are invited to reach out to GreenPath for a free, confidential financial assessment. Through </a:t>
            </a:r>
            <a:r>
              <a:rPr lang="en-US" sz="1800" b="0" dirty="0" err="1">
                <a:effectLst/>
              </a:rPr>
              <a:t>GreenPath’s</a:t>
            </a:r>
            <a:r>
              <a:rPr lang="en-US" sz="1800" b="0" dirty="0">
                <a:effectLst/>
              </a:rPr>
              <a:t> partnership with HUECU, we provide a variety of services, all designed to empower people to lead financially healthy lives. A financial assessment is basically </a:t>
            </a:r>
            <a:r>
              <a:rPr lang="en-US" sz="1800" dirty="0">
                <a:effectLst/>
              </a:rPr>
              <a:t>a conversation that starts with gaining an understanding of your financial situation and goals and then working with you to put an action plan into place that you are confident in. We will discuss pros and cons of different options that make sense for your situation, equipping you to make educated decisions on the best path forward to get where you want to be. Specifically in regards to credit, we can do a soft pull of your credit and review it with you, and our Financial Wellness Experts can give you specific, tailored advice on how to improve your credit score based on your actual credit history. There are so many moving pieces coming into play with credit, and everyone’s situation is different – you and I could pay off the same account on the same day and it would have different impacts on our credit scores – so I really encourage anyone who wants to improve their credit to give us a call for a free credit report review to get some clear, specific advice based on your actual credit situation. </a:t>
            </a:r>
          </a:p>
          <a:p>
            <a:pPr>
              <a:defRPr/>
            </a:pPr>
            <a:endParaRPr lang="en-US" sz="1800" dirty="0">
              <a:effectLst/>
            </a:endParaRPr>
          </a:p>
          <a:p>
            <a:pPr>
              <a:defRPr/>
            </a:pPr>
            <a:r>
              <a:rPr lang="en-US" sz="1800" dirty="0">
                <a:effectLst/>
              </a:rPr>
              <a:t>We can also strategize the best plan to pay off debt if that is a goal of yours as well – whether it’s open and active credit cards, or even collection accounts or other past-due bills that are negatively impacting your credit. We also provide housing and student loan counseling as well. </a:t>
            </a:r>
            <a:r>
              <a:rPr lang="en-US" dirty="0">
                <a:effectLst/>
              </a:rPr>
              <a:t> </a:t>
            </a:r>
          </a:p>
        </p:txBody>
      </p:sp>
      <p:sp>
        <p:nvSpPr>
          <p:cNvPr id="4" name="Slide Number Placeholder 3"/>
          <p:cNvSpPr>
            <a:spLocks noGrp="1"/>
          </p:cNvSpPr>
          <p:nvPr>
            <p:ph type="sldNum" sz="quarter" idx="5"/>
          </p:nvPr>
        </p:nvSpPr>
        <p:spPr/>
        <p:txBody>
          <a:bodyPr/>
          <a:lstStyle/>
          <a:p>
            <a:fld id="{863F785C-F93D-4343-BB7F-99EBCC4696DA}" type="slidenum">
              <a:rPr lang="en-US" smtClean="0">
                <a:solidFill>
                  <a:prstClr val="black"/>
                </a:solidFill>
              </a:rPr>
              <a:pPr/>
              <a:t>59</a:t>
            </a:fld>
            <a:endParaRPr lang="en-US">
              <a:solidFill>
                <a:prstClr val="black"/>
              </a:solidFill>
            </a:endParaRPr>
          </a:p>
        </p:txBody>
      </p:sp>
    </p:spTree>
    <p:extLst>
      <p:ext uri="{BB962C8B-B14F-4D97-AF65-F5344CB8AC3E}">
        <p14:creationId xmlns:p14="http://schemas.microsoft.com/office/powerpoint/2010/main" val="236098560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200" b="0" kern="1200" dirty="0">
                <a:solidFill>
                  <a:schemeClr val="tx1"/>
                </a:solidFill>
                <a:effectLst/>
                <a:latin typeface="+mn-lt"/>
                <a:ea typeface="+mn-ea"/>
                <a:cs typeface="+mn-cs"/>
              </a:rPr>
              <a:t>We also offer a free online financial education platform with a variety of interactive courses you can take 24/7. I’m putting a link in the chat for the A1 Credit Tool, which is about a 10 minute course to dive deeper into the topic of credit if you’d like to learn more. </a:t>
            </a:r>
          </a:p>
          <a:p>
            <a:pPr>
              <a:defRPr/>
            </a:pPr>
            <a:endParaRPr lang="en-US" sz="1200" b="0" kern="1200" dirty="0">
              <a:solidFill>
                <a:schemeClr val="tx1"/>
              </a:solidFill>
              <a:effectLst/>
              <a:latin typeface="+mn-lt"/>
              <a:ea typeface="+mn-ea"/>
              <a:cs typeface="+mn-cs"/>
            </a:endParaRPr>
          </a:p>
          <a:p>
            <a:pPr>
              <a:defRPr/>
            </a:pPr>
            <a:r>
              <a:rPr lang="en-US" dirty="0">
                <a:effectLst/>
              </a:rPr>
              <a:t>https://www.greenpath.com/wellness-education/online-course-a1-credit-tool/?partner_name=Harvard+University+Employees+CU&amp;partner_type=credit_union</a:t>
            </a:r>
          </a:p>
        </p:txBody>
      </p:sp>
      <p:sp>
        <p:nvSpPr>
          <p:cNvPr id="4" name="Slide Number Placeholder 3"/>
          <p:cNvSpPr>
            <a:spLocks noGrp="1"/>
          </p:cNvSpPr>
          <p:nvPr>
            <p:ph type="sldNum" sz="quarter" idx="5"/>
          </p:nvPr>
        </p:nvSpPr>
        <p:spPr/>
        <p:txBody>
          <a:bodyPr/>
          <a:lstStyle/>
          <a:p>
            <a:fld id="{863F785C-F93D-4343-BB7F-99EBCC4696DA}" type="slidenum">
              <a:rPr lang="en-US" smtClean="0">
                <a:solidFill>
                  <a:prstClr val="black"/>
                </a:solidFill>
              </a:rPr>
              <a:pPr/>
              <a:t>60</a:t>
            </a:fld>
            <a:endParaRPr lang="en-US">
              <a:solidFill>
                <a:prstClr val="black"/>
              </a:solidFill>
            </a:endParaRPr>
          </a:p>
        </p:txBody>
      </p:sp>
    </p:spTree>
    <p:extLst>
      <p:ext uri="{BB962C8B-B14F-4D97-AF65-F5344CB8AC3E}">
        <p14:creationId xmlns:p14="http://schemas.microsoft.com/office/powerpoint/2010/main" val="187727782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To talk with a caring, certified Financial Wellness, you can give us a call at 877-337-3399 between 8am and 10pm Eastern Mondays through Thursdays, until 8pm Eastern on Fridays, or on Saturdays between 9am and 2pm Eastern. When you give us a call, you’ll talk first with one of our Client Advocates, who will gather some information to create a profile before connecting you with a Financial Wellness Expert right away or scheduling an appointment for a time that works well for you. Be sure to let them know you were referred by Harvard University Employees Credit Un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If you would like to know more about GreenPath before reaching out, totally understandable – check out our website, and you can also fill out a Request a Call form there if you’d prefer we give you a call. </a:t>
            </a:r>
          </a:p>
        </p:txBody>
      </p:sp>
      <p:sp>
        <p:nvSpPr>
          <p:cNvPr id="4" name="Slide Number Placeholder 3"/>
          <p:cNvSpPr>
            <a:spLocks noGrp="1"/>
          </p:cNvSpPr>
          <p:nvPr>
            <p:ph type="sldNum" sz="quarter" idx="5"/>
          </p:nvPr>
        </p:nvSpPr>
        <p:spPr/>
        <p:txBody>
          <a:bodyPr/>
          <a:lstStyle/>
          <a:p>
            <a:fld id="{863F785C-F93D-4343-BB7F-99EBCC4696DA}" type="slidenum">
              <a:rPr lang="en-US" smtClean="0">
                <a:solidFill>
                  <a:prstClr val="black"/>
                </a:solidFill>
              </a:rPr>
              <a:pPr/>
              <a:t>61</a:t>
            </a:fld>
            <a:endParaRPr lang="en-US">
              <a:solidFill>
                <a:prstClr val="black"/>
              </a:solidFill>
            </a:endParaRPr>
          </a:p>
        </p:txBody>
      </p:sp>
    </p:spTree>
    <p:extLst>
      <p:ext uri="{BB962C8B-B14F-4D97-AF65-F5344CB8AC3E}">
        <p14:creationId xmlns:p14="http://schemas.microsoft.com/office/powerpoint/2010/main" val="18289114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take just a moment to cover our agenda for this presentation – first, I will cover the basics of credit</a:t>
            </a:r>
          </a:p>
        </p:txBody>
      </p:sp>
      <p:sp>
        <p:nvSpPr>
          <p:cNvPr id="4" name="Slide Number Placeholder 3"/>
          <p:cNvSpPr>
            <a:spLocks noGrp="1"/>
          </p:cNvSpPr>
          <p:nvPr>
            <p:ph type="sldNum" sz="quarter" idx="5"/>
          </p:nvPr>
        </p:nvSpPr>
        <p:spPr/>
        <p:txBody>
          <a:bodyPr/>
          <a:lstStyle/>
          <a:p>
            <a:fld id="{454E303A-2034-4BD8-8C21-0B8FFE3DE7D4}" type="slidenum">
              <a:rPr lang="en-US" smtClean="0"/>
              <a:t>8</a:t>
            </a:fld>
            <a:endParaRPr lang="en-US"/>
          </a:p>
        </p:txBody>
      </p:sp>
    </p:spTree>
    <p:extLst>
      <p:ext uri="{BB962C8B-B14F-4D97-AF65-F5344CB8AC3E}">
        <p14:creationId xmlns:p14="http://schemas.microsoft.com/office/powerpoint/2010/main" val="348582660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w, I want to take some time to answer your questions. </a:t>
            </a:r>
          </a:p>
        </p:txBody>
      </p:sp>
      <p:sp>
        <p:nvSpPr>
          <p:cNvPr id="4" name="Slide Number Placeholder 3"/>
          <p:cNvSpPr>
            <a:spLocks noGrp="1"/>
          </p:cNvSpPr>
          <p:nvPr>
            <p:ph type="sldNum" sz="quarter" idx="5"/>
          </p:nvPr>
        </p:nvSpPr>
        <p:spPr/>
        <p:txBody>
          <a:bodyPr/>
          <a:lstStyle/>
          <a:p>
            <a:fld id="{454E303A-2034-4BD8-8C21-0B8FFE3DE7D4}" type="slidenum">
              <a:rPr lang="en-US" smtClean="0"/>
              <a:t>62</a:t>
            </a:fld>
            <a:endParaRPr lang="en-US"/>
          </a:p>
        </p:txBody>
      </p:sp>
    </p:spTree>
    <p:extLst>
      <p:ext uri="{BB962C8B-B14F-4D97-AF65-F5344CB8AC3E}">
        <p14:creationId xmlns:p14="http://schemas.microsoft.com/office/powerpoint/2010/main" val="118760520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e have two more Wintersession</a:t>
            </a:r>
            <a:r>
              <a:rPr lang="en-US" baseline="0" dirty="0"/>
              <a:t> workshops on Thursday: one on Investing 101, and an interactive Investing Q&amp;A</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DB89DD0-1E8D-4B61-ADE9-B87318B81B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15057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n we’ll talk about why credit even matters</a:t>
            </a:r>
          </a:p>
        </p:txBody>
      </p:sp>
      <p:sp>
        <p:nvSpPr>
          <p:cNvPr id="4" name="Slide Number Placeholder 3"/>
          <p:cNvSpPr>
            <a:spLocks noGrp="1"/>
          </p:cNvSpPr>
          <p:nvPr>
            <p:ph type="sldNum" sz="quarter" idx="5"/>
          </p:nvPr>
        </p:nvSpPr>
        <p:spPr/>
        <p:txBody>
          <a:bodyPr/>
          <a:lstStyle/>
          <a:p>
            <a:fld id="{454E303A-2034-4BD8-8C21-0B8FFE3DE7D4}" type="slidenum">
              <a:rPr lang="en-US" smtClean="0"/>
              <a:t>9</a:t>
            </a:fld>
            <a:endParaRPr lang="en-US"/>
          </a:p>
        </p:txBody>
      </p:sp>
    </p:spTree>
    <p:extLst>
      <p:ext uri="{BB962C8B-B14F-4D97-AF65-F5344CB8AC3E}">
        <p14:creationId xmlns:p14="http://schemas.microsoft.com/office/powerpoint/2010/main" val="17237015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n we’ll dive deeper into what actually impacts your credit score </a:t>
            </a:r>
          </a:p>
        </p:txBody>
      </p:sp>
      <p:sp>
        <p:nvSpPr>
          <p:cNvPr id="4" name="Slide Number Placeholder 3"/>
          <p:cNvSpPr>
            <a:spLocks noGrp="1"/>
          </p:cNvSpPr>
          <p:nvPr>
            <p:ph type="sldNum" sz="quarter" idx="5"/>
          </p:nvPr>
        </p:nvSpPr>
        <p:spPr/>
        <p:txBody>
          <a:bodyPr/>
          <a:lstStyle/>
          <a:p>
            <a:fld id="{454E303A-2034-4BD8-8C21-0B8FFE3DE7D4}" type="slidenum">
              <a:rPr lang="en-US" smtClean="0"/>
              <a:t>10</a:t>
            </a:fld>
            <a:endParaRPr lang="en-US"/>
          </a:p>
        </p:txBody>
      </p:sp>
    </p:spTree>
    <p:extLst>
      <p:ext uri="{BB962C8B-B14F-4D97-AF65-F5344CB8AC3E}">
        <p14:creationId xmlns:p14="http://schemas.microsoft.com/office/powerpoint/2010/main" val="13818933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fore talking about how to build credit from scratch, or rebuild it after a credit setback </a:t>
            </a:r>
          </a:p>
        </p:txBody>
      </p:sp>
      <p:sp>
        <p:nvSpPr>
          <p:cNvPr id="4" name="Slide Number Placeholder 3"/>
          <p:cNvSpPr>
            <a:spLocks noGrp="1"/>
          </p:cNvSpPr>
          <p:nvPr>
            <p:ph type="sldNum" sz="quarter" idx="5"/>
          </p:nvPr>
        </p:nvSpPr>
        <p:spPr/>
        <p:txBody>
          <a:bodyPr/>
          <a:lstStyle/>
          <a:p>
            <a:fld id="{454E303A-2034-4BD8-8C21-0B8FFE3DE7D4}" type="slidenum">
              <a:rPr lang="en-US" smtClean="0"/>
              <a:t>11</a:t>
            </a:fld>
            <a:endParaRPr lang="en-US"/>
          </a:p>
        </p:txBody>
      </p:sp>
    </p:spTree>
    <p:extLst>
      <p:ext uri="{BB962C8B-B14F-4D97-AF65-F5344CB8AC3E}">
        <p14:creationId xmlns:p14="http://schemas.microsoft.com/office/powerpoint/2010/main" val="42072379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4"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Tree>
    <p:custDataLst>
      <p:tags r:id="rId2"/>
    </p:custDataLst>
    <p:extLst>
      <p:ext uri="{BB962C8B-B14F-4D97-AF65-F5344CB8AC3E}">
        <p14:creationId xmlns:p14="http://schemas.microsoft.com/office/powerpoint/2010/main" val="1309479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am option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5ED18-7A07-47F1-8056-CD86B076AFE2}"/>
              </a:ext>
            </a:extLst>
          </p:cNvPr>
          <p:cNvSpPr>
            <a:spLocks noGrp="1"/>
          </p:cNvSpPr>
          <p:nvPr>
            <p:ph type="title" hasCustomPrompt="1"/>
          </p:nvPr>
        </p:nvSpPr>
        <p:spPr/>
        <p:txBody>
          <a:bodyPr>
            <a:normAutofit/>
          </a:bodyPr>
          <a:lstStyle>
            <a:lvl1pPr>
              <a:defRPr sz="3600">
                <a:solidFill>
                  <a:schemeClr val="bg2">
                    <a:lumMod val="50000"/>
                  </a:schemeClr>
                </a:solidFill>
              </a:defRPr>
            </a:lvl1pPr>
          </a:lstStyle>
          <a:p>
            <a:r>
              <a:rPr lang="en-US"/>
              <a:t>CLICK TO ADD TITLE</a:t>
            </a:r>
          </a:p>
        </p:txBody>
      </p:sp>
      <p:sp>
        <p:nvSpPr>
          <p:cNvPr id="7" name="Picture Placeholder 6">
            <a:extLst>
              <a:ext uri="{FF2B5EF4-FFF2-40B4-BE49-F238E27FC236}">
                <a16:creationId xmlns:a16="http://schemas.microsoft.com/office/drawing/2014/main" id="{FB0F91E1-53D9-4A2A-923E-0CB7755188AD}"/>
              </a:ext>
            </a:extLst>
          </p:cNvPr>
          <p:cNvSpPr>
            <a:spLocks noGrp="1"/>
          </p:cNvSpPr>
          <p:nvPr>
            <p:ph type="pic" sz="quarter" idx="13"/>
          </p:nvPr>
        </p:nvSpPr>
        <p:spPr>
          <a:xfrm>
            <a:off x="477256" y="1722086"/>
            <a:ext cx="2286000" cy="1371600"/>
          </a:xfrm>
          <a:solidFill>
            <a:schemeClr val="accent2"/>
          </a:solidFill>
        </p:spPr>
        <p:txBody>
          <a:bodyPr/>
          <a:lstStyle/>
          <a:p>
            <a:endParaRPr lang="en-US"/>
          </a:p>
        </p:txBody>
      </p:sp>
      <p:sp>
        <p:nvSpPr>
          <p:cNvPr id="9" name="Picture Placeholder 6">
            <a:extLst>
              <a:ext uri="{FF2B5EF4-FFF2-40B4-BE49-F238E27FC236}">
                <a16:creationId xmlns:a16="http://schemas.microsoft.com/office/drawing/2014/main" id="{2F6A179B-CBDB-414D-B2F8-E1FEE9B831BE}"/>
              </a:ext>
            </a:extLst>
          </p:cNvPr>
          <p:cNvSpPr>
            <a:spLocks noGrp="1"/>
          </p:cNvSpPr>
          <p:nvPr>
            <p:ph type="pic" sz="quarter" idx="14"/>
          </p:nvPr>
        </p:nvSpPr>
        <p:spPr>
          <a:xfrm>
            <a:off x="3429000" y="1722086"/>
            <a:ext cx="2286000" cy="1371600"/>
          </a:xfrm>
          <a:solidFill>
            <a:schemeClr val="accent2"/>
          </a:solidFill>
        </p:spPr>
        <p:txBody>
          <a:bodyPr/>
          <a:lstStyle/>
          <a:p>
            <a:endParaRPr lang="en-US"/>
          </a:p>
        </p:txBody>
      </p:sp>
      <p:sp>
        <p:nvSpPr>
          <p:cNvPr id="10" name="Picture Placeholder 6">
            <a:extLst>
              <a:ext uri="{FF2B5EF4-FFF2-40B4-BE49-F238E27FC236}">
                <a16:creationId xmlns:a16="http://schemas.microsoft.com/office/drawing/2014/main" id="{F7A822EC-853A-46EC-8775-F8B48F2A81EB}"/>
              </a:ext>
            </a:extLst>
          </p:cNvPr>
          <p:cNvSpPr>
            <a:spLocks noGrp="1"/>
          </p:cNvSpPr>
          <p:nvPr>
            <p:ph type="pic" sz="quarter" idx="15"/>
          </p:nvPr>
        </p:nvSpPr>
        <p:spPr>
          <a:xfrm>
            <a:off x="6477000" y="1722086"/>
            <a:ext cx="2286000" cy="1371600"/>
          </a:xfrm>
          <a:solidFill>
            <a:schemeClr val="accent2"/>
          </a:solidFill>
        </p:spPr>
        <p:txBody>
          <a:bodyPr/>
          <a:lstStyle/>
          <a:p>
            <a:endParaRPr lang="en-US"/>
          </a:p>
        </p:txBody>
      </p:sp>
      <p:sp>
        <p:nvSpPr>
          <p:cNvPr id="11" name="Picture Placeholder 6">
            <a:extLst>
              <a:ext uri="{FF2B5EF4-FFF2-40B4-BE49-F238E27FC236}">
                <a16:creationId xmlns:a16="http://schemas.microsoft.com/office/drawing/2014/main" id="{AA0D329B-CAB8-4E3A-BA03-C17A79790B67}"/>
              </a:ext>
            </a:extLst>
          </p:cNvPr>
          <p:cNvSpPr>
            <a:spLocks noGrp="1"/>
          </p:cNvSpPr>
          <p:nvPr>
            <p:ph type="pic" sz="quarter" idx="16"/>
          </p:nvPr>
        </p:nvSpPr>
        <p:spPr>
          <a:xfrm>
            <a:off x="9440776" y="1722086"/>
            <a:ext cx="2286000" cy="1371600"/>
          </a:xfrm>
          <a:solidFill>
            <a:schemeClr val="accent2"/>
          </a:solidFill>
        </p:spPr>
        <p:txBody>
          <a:bodyPr/>
          <a:lstStyle/>
          <a:p>
            <a:endParaRPr lang="en-US"/>
          </a:p>
        </p:txBody>
      </p:sp>
      <p:sp>
        <p:nvSpPr>
          <p:cNvPr id="13" name="Text Placeholder 12">
            <a:extLst>
              <a:ext uri="{FF2B5EF4-FFF2-40B4-BE49-F238E27FC236}">
                <a16:creationId xmlns:a16="http://schemas.microsoft.com/office/drawing/2014/main" id="{A5F9E280-35B2-41C7-8D2D-C1FF69DE2CD9}"/>
              </a:ext>
            </a:extLst>
          </p:cNvPr>
          <p:cNvSpPr>
            <a:spLocks noGrp="1"/>
          </p:cNvSpPr>
          <p:nvPr>
            <p:ph type="body" sz="quarter" idx="17" hasCustomPrompt="1"/>
          </p:nvPr>
        </p:nvSpPr>
        <p:spPr>
          <a:xfrm>
            <a:off x="379977" y="3213251"/>
            <a:ext cx="2286000" cy="280027"/>
          </a:xfrm>
        </p:spPr>
        <p:txBody>
          <a:bodyPr>
            <a:noAutofit/>
          </a:bodyPr>
          <a:lstStyle>
            <a:lvl1pPr marL="0" indent="0">
              <a:buNone/>
              <a:defRPr sz="1400" b="0">
                <a:solidFill>
                  <a:schemeClr val="bg1">
                    <a:lumMod val="50000"/>
                  </a:schemeClr>
                </a:solidFill>
                <a:latin typeface="+mj-lt"/>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Name</a:t>
            </a:r>
          </a:p>
        </p:txBody>
      </p:sp>
      <p:sp>
        <p:nvSpPr>
          <p:cNvPr id="15" name="Text Placeholder 14">
            <a:extLst>
              <a:ext uri="{FF2B5EF4-FFF2-40B4-BE49-F238E27FC236}">
                <a16:creationId xmlns:a16="http://schemas.microsoft.com/office/drawing/2014/main" id="{E872F581-8AEF-4CFC-B0F3-79A2530C9319}"/>
              </a:ext>
            </a:extLst>
          </p:cNvPr>
          <p:cNvSpPr>
            <a:spLocks noGrp="1"/>
          </p:cNvSpPr>
          <p:nvPr>
            <p:ph type="body" sz="quarter" idx="18" hasCustomPrompt="1"/>
          </p:nvPr>
        </p:nvSpPr>
        <p:spPr>
          <a:xfrm>
            <a:off x="379976" y="3518946"/>
            <a:ext cx="2286000" cy="244475"/>
          </a:xfrm>
        </p:spPr>
        <p:txBody>
          <a:bodyPr>
            <a:noAutofit/>
          </a:bodyPr>
          <a:lstStyle>
            <a:lvl1pPr marL="0" indent="0">
              <a:buFont typeface="Arial" panose="020B0604020202020204" pitchFamily="34" charset="0"/>
              <a:buNone/>
              <a:defRPr sz="1000" spc="20" baseline="0">
                <a:solidFill>
                  <a:schemeClr val="bg2">
                    <a:lumMod val="50000"/>
                  </a:schemeClr>
                </a:solidFill>
              </a:defRPr>
            </a:lvl1pPr>
            <a:lvl2pPr marL="457200" indent="0">
              <a:buFont typeface="Arial" panose="020B0604020202020204" pitchFamily="34" charset="0"/>
              <a:buNone/>
              <a:defRPr sz="1200"/>
            </a:lvl2pPr>
            <a:lvl3pPr marL="914400" indent="0">
              <a:buFont typeface="Arial" panose="020B0604020202020204" pitchFamily="34" charset="0"/>
              <a:buNone/>
              <a:defRPr sz="12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Title</a:t>
            </a:r>
          </a:p>
        </p:txBody>
      </p:sp>
      <p:sp>
        <p:nvSpPr>
          <p:cNvPr id="16" name="Text Placeholder 12">
            <a:extLst>
              <a:ext uri="{FF2B5EF4-FFF2-40B4-BE49-F238E27FC236}">
                <a16:creationId xmlns:a16="http://schemas.microsoft.com/office/drawing/2014/main" id="{1FA5D559-B67C-4F57-BC90-E982E66ADA5E}"/>
              </a:ext>
            </a:extLst>
          </p:cNvPr>
          <p:cNvSpPr>
            <a:spLocks noGrp="1"/>
          </p:cNvSpPr>
          <p:nvPr>
            <p:ph type="body" sz="quarter" idx="19" hasCustomPrompt="1"/>
          </p:nvPr>
        </p:nvSpPr>
        <p:spPr>
          <a:xfrm>
            <a:off x="3331719" y="3213251"/>
            <a:ext cx="2286000" cy="280027"/>
          </a:xfrm>
        </p:spPr>
        <p:txBody>
          <a:bodyPr>
            <a:noAutofit/>
          </a:bodyPr>
          <a:lstStyle>
            <a:lvl1pPr marL="0" indent="0">
              <a:buNone/>
              <a:defRPr sz="1400" b="0">
                <a:solidFill>
                  <a:schemeClr val="bg1">
                    <a:lumMod val="50000"/>
                  </a:schemeClr>
                </a:solidFill>
                <a:latin typeface="+mj-lt"/>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Name</a:t>
            </a:r>
          </a:p>
        </p:txBody>
      </p:sp>
      <p:sp>
        <p:nvSpPr>
          <p:cNvPr id="17" name="Text Placeholder 14">
            <a:extLst>
              <a:ext uri="{FF2B5EF4-FFF2-40B4-BE49-F238E27FC236}">
                <a16:creationId xmlns:a16="http://schemas.microsoft.com/office/drawing/2014/main" id="{F932B527-4126-40FF-8117-412DC7BD81F6}"/>
              </a:ext>
            </a:extLst>
          </p:cNvPr>
          <p:cNvSpPr>
            <a:spLocks noGrp="1"/>
          </p:cNvSpPr>
          <p:nvPr>
            <p:ph type="body" sz="quarter" idx="20" hasCustomPrompt="1"/>
          </p:nvPr>
        </p:nvSpPr>
        <p:spPr>
          <a:xfrm>
            <a:off x="3331718" y="3518946"/>
            <a:ext cx="2286000" cy="244475"/>
          </a:xfrm>
        </p:spPr>
        <p:txBody>
          <a:bodyPr>
            <a:noAutofit/>
          </a:bodyPr>
          <a:lstStyle>
            <a:lvl1pPr marL="0" indent="0">
              <a:buFont typeface="Arial" panose="020B0604020202020204" pitchFamily="34" charset="0"/>
              <a:buNone/>
              <a:defRPr sz="1000" spc="20" baseline="0">
                <a:solidFill>
                  <a:schemeClr val="bg2">
                    <a:lumMod val="50000"/>
                  </a:schemeClr>
                </a:solidFill>
              </a:defRPr>
            </a:lvl1pPr>
            <a:lvl2pPr marL="457200" indent="0">
              <a:buFont typeface="Arial" panose="020B0604020202020204" pitchFamily="34" charset="0"/>
              <a:buNone/>
              <a:defRPr sz="1200"/>
            </a:lvl2pPr>
            <a:lvl3pPr marL="914400" indent="0">
              <a:buFont typeface="Arial" panose="020B0604020202020204" pitchFamily="34" charset="0"/>
              <a:buNone/>
              <a:defRPr sz="12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Title</a:t>
            </a:r>
          </a:p>
        </p:txBody>
      </p:sp>
      <p:sp>
        <p:nvSpPr>
          <p:cNvPr id="18" name="Text Placeholder 12">
            <a:extLst>
              <a:ext uri="{FF2B5EF4-FFF2-40B4-BE49-F238E27FC236}">
                <a16:creationId xmlns:a16="http://schemas.microsoft.com/office/drawing/2014/main" id="{D84B520F-D618-4828-AA40-CCCA0AF8966F}"/>
              </a:ext>
            </a:extLst>
          </p:cNvPr>
          <p:cNvSpPr>
            <a:spLocks noGrp="1"/>
          </p:cNvSpPr>
          <p:nvPr>
            <p:ph type="body" sz="quarter" idx="21" hasCustomPrompt="1"/>
          </p:nvPr>
        </p:nvSpPr>
        <p:spPr>
          <a:xfrm>
            <a:off x="6379720" y="3213251"/>
            <a:ext cx="2286000" cy="280027"/>
          </a:xfrm>
        </p:spPr>
        <p:txBody>
          <a:bodyPr>
            <a:noAutofit/>
          </a:bodyPr>
          <a:lstStyle>
            <a:lvl1pPr marL="0" indent="0">
              <a:buNone/>
              <a:defRPr sz="1400" b="0">
                <a:solidFill>
                  <a:schemeClr val="bg1">
                    <a:lumMod val="50000"/>
                  </a:schemeClr>
                </a:solidFill>
                <a:latin typeface="+mj-lt"/>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Name</a:t>
            </a:r>
          </a:p>
        </p:txBody>
      </p:sp>
      <p:sp>
        <p:nvSpPr>
          <p:cNvPr id="19" name="Text Placeholder 14">
            <a:extLst>
              <a:ext uri="{FF2B5EF4-FFF2-40B4-BE49-F238E27FC236}">
                <a16:creationId xmlns:a16="http://schemas.microsoft.com/office/drawing/2014/main" id="{39A9C8DE-6F8B-405D-A604-845E81998FA9}"/>
              </a:ext>
            </a:extLst>
          </p:cNvPr>
          <p:cNvSpPr>
            <a:spLocks noGrp="1"/>
          </p:cNvSpPr>
          <p:nvPr>
            <p:ph type="body" sz="quarter" idx="22" hasCustomPrompt="1"/>
          </p:nvPr>
        </p:nvSpPr>
        <p:spPr>
          <a:xfrm>
            <a:off x="6379719" y="3518946"/>
            <a:ext cx="2286000" cy="244475"/>
          </a:xfrm>
        </p:spPr>
        <p:txBody>
          <a:bodyPr>
            <a:noAutofit/>
          </a:bodyPr>
          <a:lstStyle>
            <a:lvl1pPr marL="0" indent="0">
              <a:buFont typeface="Arial" panose="020B0604020202020204" pitchFamily="34" charset="0"/>
              <a:buNone/>
              <a:defRPr sz="1000" spc="20" baseline="0">
                <a:solidFill>
                  <a:schemeClr val="bg2">
                    <a:lumMod val="50000"/>
                  </a:schemeClr>
                </a:solidFill>
              </a:defRPr>
            </a:lvl1pPr>
            <a:lvl2pPr marL="457200" indent="0">
              <a:buFont typeface="Arial" panose="020B0604020202020204" pitchFamily="34" charset="0"/>
              <a:buNone/>
              <a:defRPr sz="1200"/>
            </a:lvl2pPr>
            <a:lvl3pPr marL="914400" indent="0">
              <a:buFont typeface="Arial" panose="020B0604020202020204" pitchFamily="34" charset="0"/>
              <a:buNone/>
              <a:defRPr sz="12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Title</a:t>
            </a:r>
          </a:p>
        </p:txBody>
      </p:sp>
      <p:sp>
        <p:nvSpPr>
          <p:cNvPr id="20" name="Text Placeholder 12">
            <a:extLst>
              <a:ext uri="{FF2B5EF4-FFF2-40B4-BE49-F238E27FC236}">
                <a16:creationId xmlns:a16="http://schemas.microsoft.com/office/drawing/2014/main" id="{AB0C4D8C-1454-41F3-934E-A2BA603449BF}"/>
              </a:ext>
            </a:extLst>
          </p:cNvPr>
          <p:cNvSpPr>
            <a:spLocks noGrp="1"/>
          </p:cNvSpPr>
          <p:nvPr>
            <p:ph type="body" sz="quarter" idx="23" hasCustomPrompt="1"/>
          </p:nvPr>
        </p:nvSpPr>
        <p:spPr>
          <a:xfrm>
            <a:off x="9343497" y="3213251"/>
            <a:ext cx="2286000" cy="280027"/>
          </a:xfrm>
        </p:spPr>
        <p:txBody>
          <a:bodyPr>
            <a:noAutofit/>
          </a:bodyPr>
          <a:lstStyle>
            <a:lvl1pPr marL="0" indent="0">
              <a:buNone/>
              <a:defRPr sz="1400" b="0">
                <a:solidFill>
                  <a:schemeClr val="bg1">
                    <a:lumMod val="50000"/>
                  </a:schemeClr>
                </a:solidFill>
                <a:latin typeface="+mj-lt"/>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Name</a:t>
            </a:r>
          </a:p>
        </p:txBody>
      </p:sp>
      <p:sp>
        <p:nvSpPr>
          <p:cNvPr id="21" name="Text Placeholder 14">
            <a:extLst>
              <a:ext uri="{FF2B5EF4-FFF2-40B4-BE49-F238E27FC236}">
                <a16:creationId xmlns:a16="http://schemas.microsoft.com/office/drawing/2014/main" id="{45707A1B-C9F6-4ABB-A6CE-D2901CE94793}"/>
              </a:ext>
            </a:extLst>
          </p:cNvPr>
          <p:cNvSpPr>
            <a:spLocks noGrp="1"/>
          </p:cNvSpPr>
          <p:nvPr>
            <p:ph type="body" sz="quarter" idx="24" hasCustomPrompt="1"/>
          </p:nvPr>
        </p:nvSpPr>
        <p:spPr>
          <a:xfrm>
            <a:off x="9343496" y="3518946"/>
            <a:ext cx="2286000" cy="244475"/>
          </a:xfrm>
        </p:spPr>
        <p:txBody>
          <a:bodyPr>
            <a:noAutofit/>
          </a:bodyPr>
          <a:lstStyle>
            <a:lvl1pPr marL="0" indent="0">
              <a:buFont typeface="Arial" panose="020B0604020202020204" pitchFamily="34" charset="0"/>
              <a:buNone/>
              <a:defRPr sz="1000" spc="20" baseline="0">
                <a:solidFill>
                  <a:schemeClr val="bg2">
                    <a:lumMod val="50000"/>
                  </a:schemeClr>
                </a:solidFill>
              </a:defRPr>
            </a:lvl1pPr>
            <a:lvl2pPr marL="457200" indent="0">
              <a:buFont typeface="Arial" panose="020B0604020202020204" pitchFamily="34" charset="0"/>
              <a:buNone/>
              <a:defRPr sz="1200"/>
            </a:lvl2pPr>
            <a:lvl3pPr marL="914400" indent="0">
              <a:buFont typeface="Arial" panose="020B0604020202020204" pitchFamily="34" charset="0"/>
              <a:buNone/>
              <a:defRPr sz="12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Title</a:t>
            </a:r>
          </a:p>
        </p:txBody>
      </p:sp>
      <p:sp>
        <p:nvSpPr>
          <p:cNvPr id="46" name="Picture Placeholder 6">
            <a:extLst>
              <a:ext uri="{FF2B5EF4-FFF2-40B4-BE49-F238E27FC236}">
                <a16:creationId xmlns:a16="http://schemas.microsoft.com/office/drawing/2014/main" id="{3896D737-6139-4405-A7F2-E08C421815DD}"/>
              </a:ext>
            </a:extLst>
          </p:cNvPr>
          <p:cNvSpPr>
            <a:spLocks noGrp="1"/>
          </p:cNvSpPr>
          <p:nvPr>
            <p:ph type="pic" sz="quarter" idx="25"/>
          </p:nvPr>
        </p:nvSpPr>
        <p:spPr>
          <a:xfrm>
            <a:off x="497304" y="4076273"/>
            <a:ext cx="2286000" cy="1371600"/>
          </a:xfrm>
          <a:solidFill>
            <a:schemeClr val="accent2"/>
          </a:solidFill>
        </p:spPr>
        <p:txBody>
          <a:bodyPr/>
          <a:lstStyle/>
          <a:p>
            <a:endParaRPr lang="en-US"/>
          </a:p>
        </p:txBody>
      </p:sp>
      <p:sp>
        <p:nvSpPr>
          <p:cNvPr id="47" name="Picture Placeholder 6">
            <a:extLst>
              <a:ext uri="{FF2B5EF4-FFF2-40B4-BE49-F238E27FC236}">
                <a16:creationId xmlns:a16="http://schemas.microsoft.com/office/drawing/2014/main" id="{721A36A5-FCF3-4EE8-B5F2-41805C3F6A6C}"/>
              </a:ext>
            </a:extLst>
          </p:cNvPr>
          <p:cNvSpPr>
            <a:spLocks noGrp="1"/>
          </p:cNvSpPr>
          <p:nvPr>
            <p:ph type="pic" sz="quarter" idx="26"/>
          </p:nvPr>
        </p:nvSpPr>
        <p:spPr>
          <a:xfrm>
            <a:off x="3449048" y="4076273"/>
            <a:ext cx="2286000" cy="1371600"/>
          </a:xfrm>
          <a:solidFill>
            <a:schemeClr val="accent2"/>
          </a:solidFill>
        </p:spPr>
        <p:txBody>
          <a:bodyPr/>
          <a:lstStyle/>
          <a:p>
            <a:endParaRPr lang="en-US"/>
          </a:p>
        </p:txBody>
      </p:sp>
      <p:sp>
        <p:nvSpPr>
          <p:cNvPr id="48" name="Picture Placeholder 6">
            <a:extLst>
              <a:ext uri="{FF2B5EF4-FFF2-40B4-BE49-F238E27FC236}">
                <a16:creationId xmlns:a16="http://schemas.microsoft.com/office/drawing/2014/main" id="{1630D673-CB21-40A3-A7BE-C996B20D681F}"/>
              </a:ext>
            </a:extLst>
          </p:cNvPr>
          <p:cNvSpPr>
            <a:spLocks noGrp="1"/>
          </p:cNvSpPr>
          <p:nvPr>
            <p:ph type="pic" sz="quarter" idx="27"/>
          </p:nvPr>
        </p:nvSpPr>
        <p:spPr>
          <a:xfrm>
            <a:off x="6497048" y="4076273"/>
            <a:ext cx="2286000" cy="1371600"/>
          </a:xfrm>
          <a:solidFill>
            <a:schemeClr val="accent2"/>
          </a:solidFill>
        </p:spPr>
        <p:txBody>
          <a:bodyPr/>
          <a:lstStyle/>
          <a:p>
            <a:endParaRPr lang="en-US"/>
          </a:p>
        </p:txBody>
      </p:sp>
      <p:sp>
        <p:nvSpPr>
          <p:cNvPr id="49" name="Picture Placeholder 6">
            <a:extLst>
              <a:ext uri="{FF2B5EF4-FFF2-40B4-BE49-F238E27FC236}">
                <a16:creationId xmlns:a16="http://schemas.microsoft.com/office/drawing/2014/main" id="{0C83EF20-1DF8-43B4-B982-A382FF884E20}"/>
              </a:ext>
            </a:extLst>
          </p:cNvPr>
          <p:cNvSpPr>
            <a:spLocks noGrp="1"/>
          </p:cNvSpPr>
          <p:nvPr>
            <p:ph type="pic" sz="quarter" idx="28"/>
          </p:nvPr>
        </p:nvSpPr>
        <p:spPr>
          <a:xfrm>
            <a:off x="9460824" y="4076273"/>
            <a:ext cx="2286000" cy="1371600"/>
          </a:xfrm>
          <a:solidFill>
            <a:schemeClr val="accent2"/>
          </a:solidFill>
        </p:spPr>
        <p:txBody>
          <a:bodyPr/>
          <a:lstStyle/>
          <a:p>
            <a:endParaRPr lang="en-US"/>
          </a:p>
        </p:txBody>
      </p:sp>
      <p:sp>
        <p:nvSpPr>
          <p:cNvPr id="50" name="Text Placeholder 12">
            <a:extLst>
              <a:ext uri="{FF2B5EF4-FFF2-40B4-BE49-F238E27FC236}">
                <a16:creationId xmlns:a16="http://schemas.microsoft.com/office/drawing/2014/main" id="{1FD09C98-5809-41AD-B215-493A3D741A2A}"/>
              </a:ext>
            </a:extLst>
          </p:cNvPr>
          <p:cNvSpPr>
            <a:spLocks noGrp="1"/>
          </p:cNvSpPr>
          <p:nvPr>
            <p:ph type="body" sz="quarter" idx="29" hasCustomPrompt="1"/>
          </p:nvPr>
        </p:nvSpPr>
        <p:spPr>
          <a:xfrm>
            <a:off x="400025" y="5567438"/>
            <a:ext cx="2286000" cy="280027"/>
          </a:xfrm>
        </p:spPr>
        <p:txBody>
          <a:bodyPr>
            <a:noAutofit/>
          </a:bodyPr>
          <a:lstStyle>
            <a:lvl1pPr marL="0" indent="0">
              <a:buNone/>
              <a:defRPr sz="1400" b="0">
                <a:solidFill>
                  <a:schemeClr val="bg1">
                    <a:lumMod val="50000"/>
                  </a:schemeClr>
                </a:solidFill>
                <a:latin typeface="+mj-lt"/>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Name</a:t>
            </a:r>
          </a:p>
        </p:txBody>
      </p:sp>
      <p:sp>
        <p:nvSpPr>
          <p:cNvPr id="51" name="Text Placeholder 14">
            <a:extLst>
              <a:ext uri="{FF2B5EF4-FFF2-40B4-BE49-F238E27FC236}">
                <a16:creationId xmlns:a16="http://schemas.microsoft.com/office/drawing/2014/main" id="{9E3214F0-FC83-402F-BAC5-ED4827532778}"/>
              </a:ext>
            </a:extLst>
          </p:cNvPr>
          <p:cNvSpPr>
            <a:spLocks noGrp="1"/>
          </p:cNvSpPr>
          <p:nvPr>
            <p:ph type="body" sz="quarter" idx="30" hasCustomPrompt="1"/>
          </p:nvPr>
        </p:nvSpPr>
        <p:spPr>
          <a:xfrm>
            <a:off x="400024" y="5873133"/>
            <a:ext cx="2286000" cy="244475"/>
          </a:xfrm>
        </p:spPr>
        <p:txBody>
          <a:bodyPr>
            <a:noAutofit/>
          </a:bodyPr>
          <a:lstStyle>
            <a:lvl1pPr marL="0" indent="0">
              <a:buFont typeface="Arial" panose="020B0604020202020204" pitchFamily="34" charset="0"/>
              <a:buNone/>
              <a:defRPr sz="1000" spc="20" baseline="0">
                <a:solidFill>
                  <a:schemeClr val="bg2">
                    <a:lumMod val="50000"/>
                  </a:schemeClr>
                </a:solidFill>
              </a:defRPr>
            </a:lvl1pPr>
            <a:lvl2pPr marL="457200" indent="0">
              <a:buFont typeface="Arial" panose="020B0604020202020204" pitchFamily="34" charset="0"/>
              <a:buNone/>
              <a:defRPr sz="1200"/>
            </a:lvl2pPr>
            <a:lvl3pPr marL="914400" indent="0">
              <a:buFont typeface="Arial" panose="020B0604020202020204" pitchFamily="34" charset="0"/>
              <a:buNone/>
              <a:defRPr sz="12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Title</a:t>
            </a:r>
          </a:p>
        </p:txBody>
      </p:sp>
      <p:sp>
        <p:nvSpPr>
          <p:cNvPr id="52" name="Text Placeholder 12">
            <a:extLst>
              <a:ext uri="{FF2B5EF4-FFF2-40B4-BE49-F238E27FC236}">
                <a16:creationId xmlns:a16="http://schemas.microsoft.com/office/drawing/2014/main" id="{39B0FB7F-A1FC-40D1-ACFC-C3C966F9BCA4}"/>
              </a:ext>
            </a:extLst>
          </p:cNvPr>
          <p:cNvSpPr>
            <a:spLocks noGrp="1"/>
          </p:cNvSpPr>
          <p:nvPr>
            <p:ph type="body" sz="quarter" idx="31" hasCustomPrompt="1"/>
          </p:nvPr>
        </p:nvSpPr>
        <p:spPr>
          <a:xfrm>
            <a:off x="3351767" y="5567438"/>
            <a:ext cx="2286000" cy="280027"/>
          </a:xfrm>
        </p:spPr>
        <p:txBody>
          <a:bodyPr>
            <a:noAutofit/>
          </a:bodyPr>
          <a:lstStyle>
            <a:lvl1pPr marL="0" indent="0">
              <a:buNone/>
              <a:defRPr sz="1400" b="0">
                <a:solidFill>
                  <a:schemeClr val="bg1">
                    <a:lumMod val="50000"/>
                  </a:schemeClr>
                </a:solidFill>
                <a:latin typeface="+mj-lt"/>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Name</a:t>
            </a:r>
          </a:p>
        </p:txBody>
      </p:sp>
      <p:sp>
        <p:nvSpPr>
          <p:cNvPr id="53" name="Text Placeholder 14">
            <a:extLst>
              <a:ext uri="{FF2B5EF4-FFF2-40B4-BE49-F238E27FC236}">
                <a16:creationId xmlns:a16="http://schemas.microsoft.com/office/drawing/2014/main" id="{15EB3CBA-DD9B-449B-9B72-191780177135}"/>
              </a:ext>
            </a:extLst>
          </p:cNvPr>
          <p:cNvSpPr>
            <a:spLocks noGrp="1"/>
          </p:cNvSpPr>
          <p:nvPr>
            <p:ph type="body" sz="quarter" idx="32" hasCustomPrompt="1"/>
          </p:nvPr>
        </p:nvSpPr>
        <p:spPr>
          <a:xfrm>
            <a:off x="3351766" y="5873133"/>
            <a:ext cx="2286000" cy="244475"/>
          </a:xfrm>
        </p:spPr>
        <p:txBody>
          <a:bodyPr>
            <a:noAutofit/>
          </a:bodyPr>
          <a:lstStyle>
            <a:lvl1pPr marL="0" indent="0">
              <a:buFont typeface="Arial" panose="020B0604020202020204" pitchFamily="34" charset="0"/>
              <a:buNone/>
              <a:defRPr sz="1000" spc="20" baseline="0">
                <a:solidFill>
                  <a:schemeClr val="bg2">
                    <a:lumMod val="50000"/>
                  </a:schemeClr>
                </a:solidFill>
              </a:defRPr>
            </a:lvl1pPr>
            <a:lvl2pPr marL="457200" indent="0">
              <a:buFont typeface="Arial" panose="020B0604020202020204" pitchFamily="34" charset="0"/>
              <a:buNone/>
              <a:defRPr sz="1200"/>
            </a:lvl2pPr>
            <a:lvl3pPr marL="914400" indent="0">
              <a:buFont typeface="Arial" panose="020B0604020202020204" pitchFamily="34" charset="0"/>
              <a:buNone/>
              <a:defRPr sz="12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Title</a:t>
            </a:r>
          </a:p>
        </p:txBody>
      </p:sp>
      <p:sp>
        <p:nvSpPr>
          <p:cNvPr id="54" name="Text Placeholder 12">
            <a:extLst>
              <a:ext uri="{FF2B5EF4-FFF2-40B4-BE49-F238E27FC236}">
                <a16:creationId xmlns:a16="http://schemas.microsoft.com/office/drawing/2014/main" id="{BA47B66D-8891-4AE7-98BE-3CFE9CDB571E}"/>
              </a:ext>
            </a:extLst>
          </p:cNvPr>
          <p:cNvSpPr>
            <a:spLocks noGrp="1"/>
          </p:cNvSpPr>
          <p:nvPr>
            <p:ph type="body" sz="quarter" idx="33" hasCustomPrompt="1"/>
          </p:nvPr>
        </p:nvSpPr>
        <p:spPr>
          <a:xfrm>
            <a:off x="6399768" y="5567438"/>
            <a:ext cx="2286000" cy="280027"/>
          </a:xfrm>
        </p:spPr>
        <p:txBody>
          <a:bodyPr>
            <a:noAutofit/>
          </a:bodyPr>
          <a:lstStyle>
            <a:lvl1pPr marL="0" indent="0">
              <a:buNone/>
              <a:defRPr sz="1400" b="0">
                <a:solidFill>
                  <a:schemeClr val="bg1">
                    <a:lumMod val="50000"/>
                  </a:schemeClr>
                </a:solidFill>
                <a:latin typeface="+mj-lt"/>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Name</a:t>
            </a:r>
          </a:p>
        </p:txBody>
      </p:sp>
      <p:sp>
        <p:nvSpPr>
          <p:cNvPr id="55" name="Text Placeholder 14">
            <a:extLst>
              <a:ext uri="{FF2B5EF4-FFF2-40B4-BE49-F238E27FC236}">
                <a16:creationId xmlns:a16="http://schemas.microsoft.com/office/drawing/2014/main" id="{929AE99A-6054-4B2F-B99D-FE4F682613DA}"/>
              </a:ext>
            </a:extLst>
          </p:cNvPr>
          <p:cNvSpPr>
            <a:spLocks noGrp="1"/>
          </p:cNvSpPr>
          <p:nvPr>
            <p:ph type="body" sz="quarter" idx="34" hasCustomPrompt="1"/>
          </p:nvPr>
        </p:nvSpPr>
        <p:spPr>
          <a:xfrm>
            <a:off x="6399767" y="5873133"/>
            <a:ext cx="2286000" cy="244475"/>
          </a:xfrm>
        </p:spPr>
        <p:txBody>
          <a:bodyPr>
            <a:noAutofit/>
          </a:bodyPr>
          <a:lstStyle>
            <a:lvl1pPr marL="0" indent="0">
              <a:buFont typeface="Arial" panose="020B0604020202020204" pitchFamily="34" charset="0"/>
              <a:buNone/>
              <a:defRPr sz="1000" spc="20" baseline="0">
                <a:solidFill>
                  <a:schemeClr val="bg2">
                    <a:lumMod val="50000"/>
                  </a:schemeClr>
                </a:solidFill>
              </a:defRPr>
            </a:lvl1pPr>
            <a:lvl2pPr marL="457200" indent="0">
              <a:buFont typeface="Arial" panose="020B0604020202020204" pitchFamily="34" charset="0"/>
              <a:buNone/>
              <a:defRPr sz="1200"/>
            </a:lvl2pPr>
            <a:lvl3pPr marL="914400" indent="0">
              <a:buFont typeface="Arial" panose="020B0604020202020204" pitchFamily="34" charset="0"/>
              <a:buNone/>
              <a:defRPr sz="12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Title</a:t>
            </a:r>
          </a:p>
        </p:txBody>
      </p:sp>
      <p:sp>
        <p:nvSpPr>
          <p:cNvPr id="56" name="Text Placeholder 12">
            <a:extLst>
              <a:ext uri="{FF2B5EF4-FFF2-40B4-BE49-F238E27FC236}">
                <a16:creationId xmlns:a16="http://schemas.microsoft.com/office/drawing/2014/main" id="{D1F32591-7BBD-4006-AEA0-29F43CDADCED}"/>
              </a:ext>
            </a:extLst>
          </p:cNvPr>
          <p:cNvSpPr>
            <a:spLocks noGrp="1"/>
          </p:cNvSpPr>
          <p:nvPr>
            <p:ph type="body" sz="quarter" idx="35" hasCustomPrompt="1"/>
          </p:nvPr>
        </p:nvSpPr>
        <p:spPr>
          <a:xfrm>
            <a:off x="9363545" y="5567438"/>
            <a:ext cx="2286000" cy="280027"/>
          </a:xfrm>
        </p:spPr>
        <p:txBody>
          <a:bodyPr>
            <a:noAutofit/>
          </a:bodyPr>
          <a:lstStyle>
            <a:lvl1pPr marL="0" indent="0">
              <a:buNone/>
              <a:defRPr sz="1400" b="0">
                <a:solidFill>
                  <a:schemeClr val="bg1">
                    <a:lumMod val="50000"/>
                  </a:schemeClr>
                </a:solidFill>
                <a:latin typeface="+mj-lt"/>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Name</a:t>
            </a:r>
          </a:p>
        </p:txBody>
      </p:sp>
      <p:sp>
        <p:nvSpPr>
          <p:cNvPr id="57" name="Text Placeholder 14">
            <a:extLst>
              <a:ext uri="{FF2B5EF4-FFF2-40B4-BE49-F238E27FC236}">
                <a16:creationId xmlns:a16="http://schemas.microsoft.com/office/drawing/2014/main" id="{7BC780CD-8E77-4D0E-A436-DCB2AA0C15CD}"/>
              </a:ext>
            </a:extLst>
          </p:cNvPr>
          <p:cNvSpPr>
            <a:spLocks noGrp="1"/>
          </p:cNvSpPr>
          <p:nvPr>
            <p:ph type="body" sz="quarter" idx="36" hasCustomPrompt="1"/>
          </p:nvPr>
        </p:nvSpPr>
        <p:spPr>
          <a:xfrm>
            <a:off x="9363544" y="5873133"/>
            <a:ext cx="2286000" cy="244475"/>
          </a:xfrm>
        </p:spPr>
        <p:txBody>
          <a:bodyPr>
            <a:noAutofit/>
          </a:bodyPr>
          <a:lstStyle>
            <a:lvl1pPr marL="0" indent="0">
              <a:buFont typeface="Arial" panose="020B0604020202020204" pitchFamily="34" charset="0"/>
              <a:buNone/>
              <a:defRPr sz="1000" spc="20" baseline="0">
                <a:solidFill>
                  <a:schemeClr val="bg2">
                    <a:lumMod val="50000"/>
                  </a:schemeClr>
                </a:solidFill>
              </a:defRPr>
            </a:lvl1pPr>
            <a:lvl2pPr marL="457200" indent="0">
              <a:buFont typeface="Arial" panose="020B0604020202020204" pitchFamily="34" charset="0"/>
              <a:buNone/>
              <a:defRPr sz="1200"/>
            </a:lvl2pPr>
            <a:lvl3pPr marL="914400" indent="0">
              <a:buFont typeface="Arial" panose="020B0604020202020204" pitchFamily="34" charset="0"/>
              <a:buNone/>
              <a:defRPr sz="12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Title</a:t>
            </a:r>
          </a:p>
        </p:txBody>
      </p:sp>
      <p:sp>
        <p:nvSpPr>
          <p:cNvPr id="3" name="Date Placeholder 2">
            <a:extLst>
              <a:ext uri="{FF2B5EF4-FFF2-40B4-BE49-F238E27FC236}">
                <a16:creationId xmlns:a16="http://schemas.microsoft.com/office/drawing/2014/main" id="{A0C71211-4520-46A1-9487-4AE49C3239EF}"/>
              </a:ext>
            </a:extLst>
          </p:cNvPr>
          <p:cNvSpPr>
            <a:spLocks noGrp="1"/>
          </p:cNvSpPr>
          <p:nvPr>
            <p:ph type="dt" sz="half" idx="10"/>
          </p:nvPr>
        </p:nvSpPr>
        <p:spPr/>
        <p:txBody>
          <a:bodyPr/>
          <a:lstStyle/>
          <a:p>
            <a:r>
              <a:rPr lang="en-US"/>
              <a:t>20XX</a:t>
            </a:r>
          </a:p>
        </p:txBody>
      </p:sp>
      <p:sp>
        <p:nvSpPr>
          <p:cNvPr id="4" name="Footer Placeholder 3">
            <a:extLst>
              <a:ext uri="{FF2B5EF4-FFF2-40B4-BE49-F238E27FC236}">
                <a16:creationId xmlns:a16="http://schemas.microsoft.com/office/drawing/2014/main" id="{96356206-85FD-45F5-A1F7-128DB34C860F}"/>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0203763F-C8CD-4BCB-9A0A-B10F000BC1DB}"/>
              </a:ext>
            </a:extLst>
          </p:cNvPr>
          <p:cNvSpPr>
            <a:spLocks noGrp="1"/>
          </p:cNvSpPr>
          <p:nvPr>
            <p:ph type="sldNum" sz="quarter" idx="12"/>
          </p:nvPr>
        </p:nvSpPr>
        <p:spPr/>
        <p:txBody>
          <a:bodyPr/>
          <a:lstStyle/>
          <a:p>
            <a:fld id="{294A09A9-5501-47C1-A89A-A340965A2BE2}" type="slidenum">
              <a:rPr lang="en-US" smtClean="0"/>
              <a:t>‹#›</a:t>
            </a:fld>
            <a:endParaRPr lang="en-US"/>
          </a:p>
        </p:txBody>
      </p:sp>
    </p:spTree>
    <p:extLst>
      <p:ext uri="{BB962C8B-B14F-4D97-AF65-F5344CB8AC3E}">
        <p14:creationId xmlns:p14="http://schemas.microsoft.com/office/powerpoint/2010/main" val="8144411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5ED18-7A07-47F1-8056-CD86B076AFE2}"/>
              </a:ext>
            </a:extLst>
          </p:cNvPr>
          <p:cNvSpPr>
            <a:spLocks noGrp="1"/>
          </p:cNvSpPr>
          <p:nvPr>
            <p:ph type="title" hasCustomPrompt="1"/>
          </p:nvPr>
        </p:nvSpPr>
        <p:spPr/>
        <p:txBody>
          <a:bodyPr>
            <a:normAutofit/>
          </a:bodyPr>
          <a:lstStyle>
            <a:lvl1pPr>
              <a:defRPr sz="3600" spc="30" baseline="0">
                <a:solidFill>
                  <a:schemeClr val="bg1">
                    <a:lumMod val="50000"/>
                  </a:schemeClr>
                </a:solidFill>
              </a:defRPr>
            </a:lvl1pPr>
          </a:lstStyle>
          <a:p>
            <a:r>
              <a:rPr lang="en-US"/>
              <a:t>CLICK TO ADD TITLE</a:t>
            </a:r>
          </a:p>
        </p:txBody>
      </p:sp>
      <p:sp>
        <p:nvSpPr>
          <p:cNvPr id="3" name="Date Placeholder 2">
            <a:extLst>
              <a:ext uri="{FF2B5EF4-FFF2-40B4-BE49-F238E27FC236}">
                <a16:creationId xmlns:a16="http://schemas.microsoft.com/office/drawing/2014/main" id="{A0C71211-4520-46A1-9487-4AE49C3239EF}"/>
              </a:ext>
            </a:extLst>
          </p:cNvPr>
          <p:cNvSpPr>
            <a:spLocks noGrp="1"/>
          </p:cNvSpPr>
          <p:nvPr>
            <p:ph type="dt" sz="half" idx="10"/>
          </p:nvPr>
        </p:nvSpPr>
        <p:spPr/>
        <p:txBody>
          <a:bodyPr/>
          <a:lstStyle/>
          <a:p>
            <a:r>
              <a:rPr lang="en-US"/>
              <a:t>20XX</a:t>
            </a:r>
          </a:p>
        </p:txBody>
      </p:sp>
      <p:sp>
        <p:nvSpPr>
          <p:cNvPr id="4" name="Footer Placeholder 3">
            <a:extLst>
              <a:ext uri="{FF2B5EF4-FFF2-40B4-BE49-F238E27FC236}">
                <a16:creationId xmlns:a16="http://schemas.microsoft.com/office/drawing/2014/main" id="{96356206-85FD-45F5-A1F7-128DB34C860F}"/>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0203763F-C8CD-4BCB-9A0A-B10F000BC1DB}"/>
              </a:ext>
            </a:extLst>
          </p:cNvPr>
          <p:cNvSpPr>
            <a:spLocks noGrp="1"/>
          </p:cNvSpPr>
          <p:nvPr>
            <p:ph type="sldNum" sz="quarter" idx="12"/>
          </p:nvPr>
        </p:nvSpPr>
        <p:spPr/>
        <p:txBody>
          <a:bodyPr/>
          <a:lstStyle/>
          <a:p>
            <a:fld id="{294A09A9-5501-47C1-A89A-A340965A2BE2}" type="slidenum">
              <a:rPr lang="en-US" smtClean="0"/>
              <a:t>‹#›</a:t>
            </a:fld>
            <a:endParaRPr lang="en-US"/>
          </a:p>
        </p:txBody>
      </p:sp>
    </p:spTree>
    <p:extLst>
      <p:ext uri="{BB962C8B-B14F-4D97-AF65-F5344CB8AC3E}">
        <p14:creationId xmlns:p14="http://schemas.microsoft.com/office/powerpoint/2010/main" val="15021162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me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D97974-B93C-4C96-B3F6-F69E3D6DE6CA}"/>
              </a:ext>
            </a:extLst>
          </p:cNvPr>
          <p:cNvSpPr>
            <a:spLocks noGrp="1"/>
          </p:cNvSpPr>
          <p:nvPr>
            <p:ph type="title" hasCustomPrompt="1"/>
          </p:nvPr>
        </p:nvSpPr>
        <p:spPr/>
        <p:txBody>
          <a:bodyPr>
            <a:normAutofit/>
          </a:bodyPr>
          <a:lstStyle>
            <a:lvl1pPr>
              <a:defRPr sz="3600">
                <a:solidFill>
                  <a:schemeClr val="bg2">
                    <a:lumMod val="50000"/>
                  </a:schemeClr>
                </a:solidFill>
              </a:defRPr>
            </a:lvl1pPr>
          </a:lstStyle>
          <a:p>
            <a:r>
              <a:rPr lang="en-US"/>
              <a:t>CLICK TO ADD TITLE</a:t>
            </a:r>
          </a:p>
        </p:txBody>
      </p:sp>
      <p:sp>
        <p:nvSpPr>
          <p:cNvPr id="3" name="Content Placeholder 2">
            <a:extLst>
              <a:ext uri="{FF2B5EF4-FFF2-40B4-BE49-F238E27FC236}">
                <a16:creationId xmlns:a16="http://schemas.microsoft.com/office/drawing/2014/main" id="{8A6FC6F2-80B4-49A7-9448-33FE2DF0E967}"/>
              </a:ext>
            </a:extLst>
          </p:cNvPr>
          <p:cNvSpPr>
            <a:spLocks noGrp="1"/>
          </p:cNvSpPr>
          <p:nvPr>
            <p:ph idx="1"/>
          </p:nvPr>
        </p:nvSpPr>
        <p:spPr>
          <a:xfrm>
            <a:off x="457200" y="1825625"/>
            <a:ext cx="11430000" cy="4351338"/>
          </a:xfrm>
        </p:spPr>
        <p:txBody>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96B483-82E1-4413-838C-27BAC18440EB}"/>
              </a:ext>
            </a:extLst>
          </p:cNvPr>
          <p:cNvSpPr>
            <a:spLocks noGrp="1"/>
          </p:cNvSpPr>
          <p:nvPr>
            <p:ph type="dt" sz="half" idx="10"/>
          </p:nvPr>
        </p:nvSpPr>
        <p:spPr/>
        <p:txBody>
          <a:bodyPr/>
          <a:lstStyle/>
          <a:p>
            <a:r>
              <a:rPr lang="en-US"/>
              <a:t>20XX</a:t>
            </a:r>
          </a:p>
        </p:txBody>
      </p:sp>
      <p:sp>
        <p:nvSpPr>
          <p:cNvPr id="5" name="Footer Placeholder 4">
            <a:extLst>
              <a:ext uri="{FF2B5EF4-FFF2-40B4-BE49-F238E27FC236}">
                <a16:creationId xmlns:a16="http://schemas.microsoft.com/office/drawing/2014/main" id="{FD4486C5-22E8-475A-A424-8D493B6E8D52}"/>
              </a:ext>
            </a:extLst>
          </p:cNvPr>
          <p:cNvSpPr>
            <a:spLocks noGrp="1"/>
          </p:cNvSpPr>
          <p:nvPr>
            <p:ph type="ftr" sz="quarter" idx="11"/>
          </p:nvPr>
        </p:nvSpPr>
        <p:spPr/>
        <p:txBody>
          <a:bodyPr/>
          <a:lstStyle/>
          <a:p>
            <a:r>
              <a:rPr lang="en-US"/>
              <a:t>Presentation title</a:t>
            </a:r>
          </a:p>
        </p:txBody>
      </p:sp>
      <p:sp>
        <p:nvSpPr>
          <p:cNvPr id="6" name="Slide Number Placeholder 5">
            <a:extLst>
              <a:ext uri="{FF2B5EF4-FFF2-40B4-BE49-F238E27FC236}">
                <a16:creationId xmlns:a16="http://schemas.microsoft.com/office/drawing/2014/main" id="{E0683D01-DAD2-4B28-BB2C-9FD028B0B8CE}"/>
              </a:ext>
            </a:extLst>
          </p:cNvPr>
          <p:cNvSpPr>
            <a:spLocks noGrp="1"/>
          </p:cNvSpPr>
          <p:nvPr>
            <p:ph type="sldNum" sz="quarter" idx="12"/>
          </p:nvPr>
        </p:nvSpPr>
        <p:spPr/>
        <p:txBody>
          <a:bodyPr/>
          <a:lstStyle/>
          <a:p>
            <a:fld id="{294A09A9-5501-47C1-A89A-A340965A2BE2}" type="slidenum">
              <a:rPr lang="en-US" smtClean="0"/>
              <a:pPr/>
              <a:t>‹#›</a:t>
            </a:fld>
            <a:endParaRPr lang="en-US"/>
          </a:p>
        </p:txBody>
      </p:sp>
    </p:spTree>
    <p:extLst>
      <p:ext uri="{BB962C8B-B14F-4D97-AF65-F5344CB8AC3E}">
        <p14:creationId xmlns:p14="http://schemas.microsoft.com/office/powerpoint/2010/main" val="37084726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E2776643-6C33-46CD-A918-AB0CEA571F00}"/>
              </a:ext>
            </a:extLst>
          </p:cNvPr>
          <p:cNvSpPr/>
          <p:nvPr userDrawn="1"/>
        </p:nvSpPr>
        <p:spPr>
          <a:xfrm>
            <a:off x="6086475" y="1682496"/>
            <a:ext cx="5638800" cy="4572000"/>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FB6E62D2-A055-4712-92CC-4B02419D51FB}"/>
              </a:ext>
            </a:extLst>
          </p:cNvPr>
          <p:cNvSpPr/>
          <p:nvPr userDrawn="1"/>
        </p:nvSpPr>
        <p:spPr>
          <a:xfrm>
            <a:off x="457200" y="1681163"/>
            <a:ext cx="5638800" cy="4572000"/>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A0D1FF5-7EF8-4250-A259-43050ABBD3B6}"/>
              </a:ext>
            </a:extLst>
          </p:cNvPr>
          <p:cNvSpPr>
            <a:spLocks noGrp="1"/>
          </p:cNvSpPr>
          <p:nvPr>
            <p:ph type="title" hasCustomPrompt="1"/>
          </p:nvPr>
        </p:nvSpPr>
        <p:spPr>
          <a:xfrm>
            <a:off x="457200" y="365125"/>
            <a:ext cx="10515600" cy="1325563"/>
          </a:xfrm>
        </p:spPr>
        <p:txBody>
          <a:bodyPr/>
          <a:lstStyle>
            <a:lvl1pPr>
              <a:defRPr/>
            </a:lvl1pPr>
          </a:lstStyle>
          <a:p>
            <a:r>
              <a:rPr lang="en-US"/>
              <a:t>CLICK TO ADD TITLE</a:t>
            </a:r>
          </a:p>
        </p:txBody>
      </p:sp>
      <p:sp>
        <p:nvSpPr>
          <p:cNvPr id="3" name="Text Placeholder 2">
            <a:extLst>
              <a:ext uri="{FF2B5EF4-FFF2-40B4-BE49-F238E27FC236}">
                <a16:creationId xmlns:a16="http://schemas.microsoft.com/office/drawing/2014/main" id="{673DC3A9-D4E6-42CF-91A8-F267C7C66CCB}"/>
              </a:ext>
            </a:extLst>
          </p:cNvPr>
          <p:cNvSpPr>
            <a:spLocks noGrp="1"/>
          </p:cNvSpPr>
          <p:nvPr>
            <p:ph type="body" idx="1" hasCustomPrompt="1"/>
          </p:nvPr>
        </p:nvSpPr>
        <p:spPr>
          <a:xfrm>
            <a:off x="1289640" y="1844259"/>
            <a:ext cx="3657600" cy="823912"/>
          </a:xfrm>
        </p:spPr>
        <p:txBody>
          <a:bodyPr anchor="ctr" anchorCtr="0">
            <a:normAutofit/>
          </a:bodyPr>
          <a:lstStyle>
            <a:lvl1pPr marL="0" indent="0">
              <a:buNone/>
              <a:defRPr sz="2000" b="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52CCA9-53A3-4DA5-AD45-C2A2C12A3A6A}"/>
              </a:ext>
            </a:extLst>
          </p:cNvPr>
          <p:cNvSpPr>
            <a:spLocks noGrp="1"/>
          </p:cNvSpPr>
          <p:nvPr>
            <p:ph sz="half" idx="2"/>
          </p:nvPr>
        </p:nvSpPr>
        <p:spPr>
          <a:xfrm>
            <a:off x="1289640" y="2668171"/>
            <a:ext cx="3657600" cy="368458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100C9C6-BD61-4D2C-9146-FB785BAE4FF3}"/>
              </a:ext>
            </a:extLst>
          </p:cNvPr>
          <p:cNvSpPr>
            <a:spLocks noGrp="1"/>
          </p:cNvSpPr>
          <p:nvPr>
            <p:ph type="body" sz="quarter" idx="3" hasCustomPrompt="1"/>
          </p:nvPr>
        </p:nvSpPr>
        <p:spPr>
          <a:xfrm>
            <a:off x="6780133" y="1808163"/>
            <a:ext cx="4703841" cy="823912"/>
          </a:xfrm>
        </p:spPr>
        <p:txBody>
          <a:bodyPr anchor="ctr" anchorCtr="0">
            <a:normAutofit/>
          </a:bodyPr>
          <a:lstStyle>
            <a:lvl1pPr marL="0" indent="0">
              <a:buNone/>
              <a:defRPr sz="2000" b="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2E342EE-68BB-484D-98C3-48A7847549D4}"/>
              </a:ext>
            </a:extLst>
          </p:cNvPr>
          <p:cNvSpPr>
            <a:spLocks noGrp="1"/>
          </p:cNvSpPr>
          <p:nvPr>
            <p:ph sz="quarter" idx="4"/>
          </p:nvPr>
        </p:nvSpPr>
        <p:spPr>
          <a:xfrm>
            <a:off x="6780134" y="2632075"/>
            <a:ext cx="3657600" cy="368458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3940682-7091-4427-B158-074D4A471374}"/>
              </a:ext>
            </a:extLst>
          </p:cNvPr>
          <p:cNvSpPr>
            <a:spLocks noGrp="1"/>
          </p:cNvSpPr>
          <p:nvPr>
            <p:ph type="dt" sz="half" idx="10"/>
          </p:nvPr>
        </p:nvSpPr>
        <p:spPr/>
        <p:txBody>
          <a:bodyPr/>
          <a:lstStyle/>
          <a:p>
            <a:r>
              <a:rPr lang="en-US"/>
              <a:t>20XX</a:t>
            </a:r>
          </a:p>
        </p:txBody>
      </p:sp>
      <p:sp>
        <p:nvSpPr>
          <p:cNvPr id="8" name="Footer Placeholder 7">
            <a:extLst>
              <a:ext uri="{FF2B5EF4-FFF2-40B4-BE49-F238E27FC236}">
                <a16:creationId xmlns:a16="http://schemas.microsoft.com/office/drawing/2014/main" id="{3A51CCCC-1589-401D-AE98-FC28716301EF}"/>
              </a:ext>
            </a:extLst>
          </p:cNvPr>
          <p:cNvSpPr>
            <a:spLocks noGrp="1"/>
          </p:cNvSpPr>
          <p:nvPr>
            <p:ph type="ftr" sz="quarter" idx="11"/>
          </p:nvPr>
        </p:nvSpPr>
        <p:spPr/>
        <p:txBody>
          <a:bodyPr/>
          <a:lstStyle/>
          <a:p>
            <a:r>
              <a:rPr lang="en-US"/>
              <a:t>Presentation title</a:t>
            </a:r>
          </a:p>
        </p:txBody>
      </p:sp>
      <p:sp>
        <p:nvSpPr>
          <p:cNvPr id="9" name="Slide Number Placeholder 8">
            <a:extLst>
              <a:ext uri="{FF2B5EF4-FFF2-40B4-BE49-F238E27FC236}">
                <a16:creationId xmlns:a16="http://schemas.microsoft.com/office/drawing/2014/main" id="{285D9D7D-8D9A-473E-AF0D-EF1940D793C3}"/>
              </a:ext>
            </a:extLst>
          </p:cNvPr>
          <p:cNvSpPr>
            <a:spLocks noGrp="1"/>
          </p:cNvSpPr>
          <p:nvPr>
            <p:ph type="sldNum" sz="quarter" idx="12"/>
          </p:nvPr>
        </p:nvSpPr>
        <p:spPr/>
        <p:txBody>
          <a:bodyPr/>
          <a:lstStyle/>
          <a:p>
            <a:fld id="{294A09A9-5501-47C1-A89A-A340965A2BE2}" type="slidenum">
              <a:rPr lang="en-US" smtClean="0"/>
              <a:t>‹#›</a:t>
            </a:fld>
            <a:endParaRPr lang="en-US"/>
          </a:p>
        </p:txBody>
      </p:sp>
    </p:spTree>
    <p:extLst>
      <p:ext uri="{BB962C8B-B14F-4D97-AF65-F5344CB8AC3E}">
        <p14:creationId xmlns:p14="http://schemas.microsoft.com/office/powerpoint/2010/main" val="1920345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mparison 3 column">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4C89FBE-3029-4F92-8308-F830BB1420FF}"/>
              </a:ext>
              <a:ext uri="{C183D7F6-B498-43B3-948B-1728B52AA6E4}">
                <adec:decorative xmlns="" xmlns:adec="http://schemas.microsoft.com/office/drawing/2017/decorative" val="1"/>
              </a:ext>
            </a:extLst>
          </p:cNvPr>
          <p:cNvSpPr/>
          <p:nvPr userDrawn="1"/>
        </p:nvSpPr>
        <p:spPr>
          <a:xfrm>
            <a:off x="7958712" y="1681163"/>
            <a:ext cx="3749040" cy="4572000"/>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E0A4C88-FF32-4096-9EA9-EC22D3682F4C}"/>
              </a:ext>
              <a:ext uri="{C183D7F6-B498-43B3-948B-1728B52AA6E4}">
                <adec:decorative xmlns="" xmlns:adec="http://schemas.microsoft.com/office/drawing/2017/decorative" val="1"/>
              </a:ext>
            </a:extLst>
          </p:cNvPr>
          <p:cNvSpPr/>
          <p:nvPr userDrawn="1"/>
        </p:nvSpPr>
        <p:spPr>
          <a:xfrm>
            <a:off x="4211097" y="1682496"/>
            <a:ext cx="3749040" cy="4572000"/>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9437559B-132E-4A6E-ADBE-41DB38EC8048}"/>
              </a:ext>
              <a:ext uri="{C183D7F6-B498-43B3-948B-1728B52AA6E4}">
                <adec:decorative xmlns="" xmlns:adec="http://schemas.microsoft.com/office/drawing/2017/decorative" val="1"/>
              </a:ext>
            </a:extLst>
          </p:cNvPr>
          <p:cNvSpPr/>
          <p:nvPr userDrawn="1"/>
        </p:nvSpPr>
        <p:spPr>
          <a:xfrm>
            <a:off x="463176" y="1681163"/>
            <a:ext cx="3749040" cy="4572000"/>
          </a:xfrm>
          <a:prstGeom prst="rect">
            <a:avLst/>
          </a:prstGeom>
          <a:solidFill>
            <a:schemeClr val="accent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A0D1FF5-7EF8-4250-A259-43050ABBD3B6}"/>
              </a:ext>
            </a:extLst>
          </p:cNvPr>
          <p:cNvSpPr>
            <a:spLocks noGrp="1"/>
          </p:cNvSpPr>
          <p:nvPr>
            <p:ph type="title" hasCustomPrompt="1"/>
          </p:nvPr>
        </p:nvSpPr>
        <p:spPr>
          <a:xfrm>
            <a:off x="457200" y="365125"/>
            <a:ext cx="10515600" cy="1325563"/>
          </a:xfrm>
        </p:spPr>
        <p:txBody>
          <a:bodyPr/>
          <a:lstStyle>
            <a:lvl1pPr>
              <a:defRPr/>
            </a:lvl1pPr>
          </a:lstStyle>
          <a:p>
            <a:r>
              <a:rPr lang="en-US"/>
              <a:t>CLICK TO ADD TITLE</a:t>
            </a:r>
          </a:p>
        </p:txBody>
      </p:sp>
      <p:sp>
        <p:nvSpPr>
          <p:cNvPr id="3" name="Text Placeholder 2">
            <a:extLst>
              <a:ext uri="{FF2B5EF4-FFF2-40B4-BE49-F238E27FC236}">
                <a16:creationId xmlns:a16="http://schemas.microsoft.com/office/drawing/2014/main" id="{673DC3A9-D4E6-42CF-91A8-F267C7C66CCB}"/>
              </a:ext>
            </a:extLst>
          </p:cNvPr>
          <p:cNvSpPr>
            <a:spLocks noGrp="1"/>
          </p:cNvSpPr>
          <p:nvPr>
            <p:ph type="body" idx="1" hasCustomPrompt="1"/>
          </p:nvPr>
        </p:nvSpPr>
        <p:spPr>
          <a:xfrm>
            <a:off x="839788" y="1966913"/>
            <a:ext cx="2971800" cy="823912"/>
          </a:xfrm>
        </p:spPr>
        <p:txBody>
          <a:bodyPr anchor="b" anchorCtr="0">
            <a:noAutofit/>
          </a:bodyPr>
          <a:lstStyle>
            <a:lvl1pPr marL="0" indent="0">
              <a:buNone/>
              <a:defRPr sz="1800" b="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52CCA9-53A3-4DA5-AD45-C2A2C12A3A6A}"/>
              </a:ext>
            </a:extLst>
          </p:cNvPr>
          <p:cNvSpPr>
            <a:spLocks noGrp="1"/>
          </p:cNvSpPr>
          <p:nvPr>
            <p:ph sz="half" idx="2"/>
          </p:nvPr>
        </p:nvSpPr>
        <p:spPr>
          <a:xfrm>
            <a:off x="839788" y="2790825"/>
            <a:ext cx="2971800" cy="3248025"/>
          </a:xfrm>
        </p:spPr>
        <p:txBody>
          <a:bodyPr>
            <a:normAutofit/>
          </a:bodyPr>
          <a:lstStyle>
            <a:lvl1pPr>
              <a:lnSpc>
                <a:spcPts val="2000"/>
              </a:lnSpc>
              <a:defRPr sz="1400"/>
            </a:lvl1pPr>
            <a:lvl2pPr>
              <a:lnSpc>
                <a:spcPts val="2000"/>
              </a:lnSpc>
              <a:defRPr sz="1400"/>
            </a:lvl2pPr>
            <a:lvl3pPr>
              <a:lnSpc>
                <a:spcPts val="2000"/>
              </a:lnSpc>
              <a:defRPr sz="1400"/>
            </a:lvl3pPr>
            <a:lvl4pPr>
              <a:lnSpc>
                <a:spcPts val="2000"/>
              </a:lnSpc>
              <a:defRPr sz="1400"/>
            </a:lvl4pPr>
            <a:lvl5pPr>
              <a:lnSpc>
                <a:spcPts val="2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100C9C6-BD61-4D2C-9146-FB785BAE4FF3}"/>
              </a:ext>
            </a:extLst>
          </p:cNvPr>
          <p:cNvSpPr>
            <a:spLocks noGrp="1"/>
          </p:cNvSpPr>
          <p:nvPr>
            <p:ph type="body" sz="quarter" idx="3" hasCustomPrompt="1"/>
          </p:nvPr>
        </p:nvSpPr>
        <p:spPr>
          <a:xfrm>
            <a:off x="4610188" y="1966913"/>
            <a:ext cx="2971800" cy="823912"/>
          </a:xfrm>
        </p:spPr>
        <p:txBody>
          <a:bodyPr anchor="b" anchorCtr="0">
            <a:noAutofit/>
          </a:bodyPr>
          <a:lstStyle>
            <a:lvl1pPr marL="0" indent="0">
              <a:buNone/>
              <a:defRPr sz="1800" b="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2E342EE-68BB-484D-98C3-48A7847549D4}"/>
              </a:ext>
            </a:extLst>
          </p:cNvPr>
          <p:cNvSpPr>
            <a:spLocks noGrp="1"/>
          </p:cNvSpPr>
          <p:nvPr>
            <p:ph sz="quarter" idx="4"/>
          </p:nvPr>
        </p:nvSpPr>
        <p:spPr>
          <a:xfrm>
            <a:off x="4610188" y="2790825"/>
            <a:ext cx="2971800" cy="3246120"/>
          </a:xfrm>
        </p:spPr>
        <p:txBody>
          <a:bodyPr>
            <a:normAutofit/>
          </a:bodyPr>
          <a:lstStyle>
            <a:lvl1pPr>
              <a:lnSpc>
                <a:spcPts val="2000"/>
              </a:lnSpc>
              <a:defRPr sz="1400"/>
            </a:lvl1pPr>
            <a:lvl2pPr>
              <a:lnSpc>
                <a:spcPts val="2000"/>
              </a:lnSpc>
              <a:defRPr sz="1400"/>
            </a:lvl2pPr>
            <a:lvl3pPr>
              <a:lnSpc>
                <a:spcPts val="2000"/>
              </a:lnSpc>
              <a:defRPr sz="1400"/>
            </a:lvl3pPr>
            <a:lvl4pPr>
              <a:lnSpc>
                <a:spcPts val="2000"/>
              </a:lnSpc>
              <a:defRPr sz="1400"/>
            </a:lvl4pPr>
            <a:lvl5pPr>
              <a:lnSpc>
                <a:spcPts val="2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a:extLst>
              <a:ext uri="{FF2B5EF4-FFF2-40B4-BE49-F238E27FC236}">
                <a16:creationId xmlns:a16="http://schemas.microsoft.com/office/drawing/2014/main" id="{FF7BCB16-19B7-48F6-94CD-563F43988749}"/>
              </a:ext>
            </a:extLst>
          </p:cNvPr>
          <p:cNvSpPr>
            <a:spLocks noGrp="1"/>
          </p:cNvSpPr>
          <p:nvPr>
            <p:ph type="body" sz="quarter" idx="13" hasCustomPrompt="1"/>
          </p:nvPr>
        </p:nvSpPr>
        <p:spPr>
          <a:xfrm>
            <a:off x="8430134" y="1976438"/>
            <a:ext cx="2971800" cy="823912"/>
          </a:xfrm>
        </p:spPr>
        <p:txBody>
          <a:bodyPr anchor="b" anchorCtr="0">
            <a:noAutofit/>
          </a:bodyPr>
          <a:lstStyle>
            <a:lvl1pPr marL="0" indent="0">
              <a:buNone/>
              <a:defRPr sz="1800" b="0">
                <a:solidFill>
                  <a:schemeClr val="tx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Content Placeholder 5">
            <a:extLst>
              <a:ext uri="{FF2B5EF4-FFF2-40B4-BE49-F238E27FC236}">
                <a16:creationId xmlns:a16="http://schemas.microsoft.com/office/drawing/2014/main" id="{8FBB2F8D-6092-468C-BA48-836286C6B7E1}"/>
              </a:ext>
            </a:extLst>
          </p:cNvPr>
          <p:cNvSpPr>
            <a:spLocks noGrp="1"/>
          </p:cNvSpPr>
          <p:nvPr>
            <p:ph sz="quarter" idx="14"/>
          </p:nvPr>
        </p:nvSpPr>
        <p:spPr>
          <a:xfrm>
            <a:off x="8430134" y="2800350"/>
            <a:ext cx="2971800" cy="3246120"/>
          </a:xfrm>
        </p:spPr>
        <p:txBody>
          <a:bodyPr>
            <a:normAutofit/>
          </a:bodyPr>
          <a:lstStyle>
            <a:lvl1pPr>
              <a:lnSpc>
                <a:spcPts val="2000"/>
              </a:lnSpc>
              <a:defRPr sz="1400"/>
            </a:lvl1pPr>
            <a:lvl2pPr>
              <a:lnSpc>
                <a:spcPts val="2000"/>
              </a:lnSpc>
              <a:defRPr sz="1400"/>
            </a:lvl2pPr>
            <a:lvl3pPr>
              <a:lnSpc>
                <a:spcPts val="2000"/>
              </a:lnSpc>
              <a:defRPr sz="1400"/>
            </a:lvl3pPr>
            <a:lvl4pPr>
              <a:lnSpc>
                <a:spcPts val="2000"/>
              </a:lnSpc>
              <a:defRPr sz="1400"/>
            </a:lvl4pPr>
            <a:lvl5pPr>
              <a:lnSpc>
                <a:spcPts val="2000"/>
              </a:lnSpc>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3940682-7091-4427-B158-074D4A471374}"/>
              </a:ext>
            </a:extLst>
          </p:cNvPr>
          <p:cNvSpPr>
            <a:spLocks noGrp="1"/>
          </p:cNvSpPr>
          <p:nvPr>
            <p:ph type="dt" sz="half" idx="10"/>
          </p:nvPr>
        </p:nvSpPr>
        <p:spPr/>
        <p:txBody>
          <a:bodyPr/>
          <a:lstStyle/>
          <a:p>
            <a:r>
              <a:rPr lang="en-US"/>
              <a:t>20XX</a:t>
            </a:r>
          </a:p>
        </p:txBody>
      </p:sp>
      <p:sp>
        <p:nvSpPr>
          <p:cNvPr id="8" name="Footer Placeholder 7">
            <a:extLst>
              <a:ext uri="{FF2B5EF4-FFF2-40B4-BE49-F238E27FC236}">
                <a16:creationId xmlns:a16="http://schemas.microsoft.com/office/drawing/2014/main" id="{3A51CCCC-1589-401D-AE98-FC28716301EF}"/>
              </a:ext>
            </a:extLst>
          </p:cNvPr>
          <p:cNvSpPr>
            <a:spLocks noGrp="1"/>
          </p:cNvSpPr>
          <p:nvPr>
            <p:ph type="ftr" sz="quarter" idx="11"/>
          </p:nvPr>
        </p:nvSpPr>
        <p:spPr/>
        <p:txBody>
          <a:bodyPr/>
          <a:lstStyle/>
          <a:p>
            <a:r>
              <a:rPr lang="en-US"/>
              <a:t>Presentation title</a:t>
            </a:r>
          </a:p>
        </p:txBody>
      </p:sp>
      <p:sp>
        <p:nvSpPr>
          <p:cNvPr id="9" name="Slide Number Placeholder 8">
            <a:extLst>
              <a:ext uri="{FF2B5EF4-FFF2-40B4-BE49-F238E27FC236}">
                <a16:creationId xmlns:a16="http://schemas.microsoft.com/office/drawing/2014/main" id="{285D9D7D-8D9A-473E-AF0D-EF1940D793C3}"/>
              </a:ext>
            </a:extLst>
          </p:cNvPr>
          <p:cNvSpPr>
            <a:spLocks noGrp="1"/>
          </p:cNvSpPr>
          <p:nvPr>
            <p:ph type="sldNum" sz="quarter" idx="12"/>
          </p:nvPr>
        </p:nvSpPr>
        <p:spPr/>
        <p:txBody>
          <a:bodyPr/>
          <a:lstStyle/>
          <a:p>
            <a:fld id="{294A09A9-5501-47C1-A89A-A340965A2BE2}" type="slidenum">
              <a:rPr lang="en-US" smtClean="0"/>
              <a:t>‹#›</a:t>
            </a:fld>
            <a:endParaRPr lang="en-US"/>
          </a:p>
        </p:txBody>
      </p:sp>
    </p:spTree>
    <p:extLst>
      <p:ext uri="{BB962C8B-B14F-4D97-AF65-F5344CB8AC3E}">
        <p14:creationId xmlns:p14="http://schemas.microsoft.com/office/powerpoint/2010/main" val="31769658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Summary">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E5633F8-C03D-4CEE-BEDD-1B6648554C09}"/>
              </a:ext>
            </a:extLst>
          </p:cNvPr>
          <p:cNvSpPr>
            <a:spLocks noGrp="1"/>
          </p:cNvSpPr>
          <p:nvPr>
            <p:ph type="pic" sz="quarter" idx="14"/>
          </p:nvPr>
        </p:nvSpPr>
        <p:spPr>
          <a:xfrm>
            <a:off x="8622628" y="685800"/>
            <a:ext cx="3200400" cy="5486400"/>
          </a:xfrm>
          <a:solidFill>
            <a:schemeClr val="accent2"/>
          </a:solidFill>
        </p:spPr>
        <p:txBody>
          <a:bodyPr/>
          <a:lstStyle/>
          <a:p>
            <a:endParaRPr lang="en-US"/>
          </a:p>
        </p:txBody>
      </p:sp>
      <p:sp>
        <p:nvSpPr>
          <p:cNvPr id="6" name="Rectangle 5">
            <a:extLst>
              <a:ext uri="{FF2B5EF4-FFF2-40B4-BE49-F238E27FC236}">
                <a16:creationId xmlns:a16="http://schemas.microsoft.com/office/drawing/2014/main" id="{4CA4DC27-A467-4265-AAB1-754D3F86CCAF}"/>
              </a:ext>
              <a:ext uri="{C183D7F6-B498-43B3-948B-1728B52AA6E4}">
                <adec:decorative xmlns="" xmlns:adec="http://schemas.microsoft.com/office/drawing/2017/decorative" val="1"/>
              </a:ext>
            </a:extLst>
          </p:cNvPr>
          <p:cNvSpPr/>
          <p:nvPr userDrawn="1"/>
        </p:nvSpPr>
        <p:spPr>
          <a:xfrm>
            <a:off x="0" y="1"/>
            <a:ext cx="6096000" cy="6858000"/>
          </a:xfrm>
          <a:prstGeom prst="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B5ED18-7A07-47F1-8056-CD86B076AFE2}"/>
              </a:ext>
            </a:extLst>
          </p:cNvPr>
          <p:cNvSpPr>
            <a:spLocks noGrp="1"/>
          </p:cNvSpPr>
          <p:nvPr>
            <p:ph type="title" hasCustomPrompt="1"/>
          </p:nvPr>
        </p:nvSpPr>
        <p:spPr>
          <a:xfrm>
            <a:off x="457200" y="850230"/>
            <a:ext cx="5009147" cy="1325563"/>
          </a:xfrm>
        </p:spPr>
        <p:txBody>
          <a:bodyPr>
            <a:normAutofit/>
          </a:bodyPr>
          <a:lstStyle>
            <a:lvl1pPr>
              <a:defRPr sz="3600">
                <a:solidFill>
                  <a:schemeClr val="bg2">
                    <a:lumMod val="50000"/>
                  </a:schemeClr>
                </a:solidFill>
              </a:defRPr>
            </a:lvl1pPr>
          </a:lstStyle>
          <a:p>
            <a:r>
              <a:rPr lang="en-US"/>
              <a:t>CLICK TO ADD TITLE</a:t>
            </a:r>
          </a:p>
        </p:txBody>
      </p:sp>
      <p:sp>
        <p:nvSpPr>
          <p:cNvPr id="9" name="Text Placeholder 8">
            <a:extLst>
              <a:ext uri="{FF2B5EF4-FFF2-40B4-BE49-F238E27FC236}">
                <a16:creationId xmlns:a16="http://schemas.microsoft.com/office/drawing/2014/main" id="{2C9CC7B6-D9ED-464B-8206-98055EB53FCF}"/>
              </a:ext>
            </a:extLst>
          </p:cNvPr>
          <p:cNvSpPr>
            <a:spLocks noGrp="1"/>
          </p:cNvSpPr>
          <p:nvPr>
            <p:ph type="body" sz="quarter" idx="13"/>
          </p:nvPr>
        </p:nvSpPr>
        <p:spPr>
          <a:xfrm>
            <a:off x="457200" y="2490788"/>
            <a:ext cx="4572000" cy="3536950"/>
          </a:xfrm>
        </p:spPr>
        <p:txBody>
          <a:bodyPr>
            <a:normAutofit/>
          </a:bodyPr>
          <a:lstStyle>
            <a:lvl1pPr marL="0" indent="0">
              <a:lnSpc>
                <a:spcPts val="2400"/>
              </a:lnSpc>
              <a:buNone/>
              <a:defRPr sz="1400" spc="30" baseline="0"/>
            </a:lvl1pPr>
            <a:lvl2pPr marL="457200" indent="0">
              <a:lnSpc>
                <a:spcPts val="2400"/>
              </a:lnSpc>
              <a:buNone/>
              <a:defRPr sz="1400" spc="30" baseline="0"/>
            </a:lvl2pPr>
            <a:lvl3pPr marL="914400" indent="0">
              <a:lnSpc>
                <a:spcPts val="2400"/>
              </a:lnSpc>
              <a:buNone/>
              <a:defRPr sz="1400" spc="30" baseline="0"/>
            </a:lvl3pPr>
            <a:lvl4pPr marL="1371600" indent="0">
              <a:lnSpc>
                <a:spcPts val="2400"/>
              </a:lnSpc>
              <a:buNone/>
              <a:defRPr sz="1400" spc="30" baseline="0"/>
            </a:lvl4pPr>
            <a:lvl5pPr marL="1828800" indent="0">
              <a:lnSpc>
                <a:spcPts val="2400"/>
              </a:lnSpc>
              <a:buNone/>
              <a:defRPr sz="1400" spc="3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Picture Placeholder 12">
            <a:extLst>
              <a:ext uri="{FF2B5EF4-FFF2-40B4-BE49-F238E27FC236}">
                <a16:creationId xmlns:a16="http://schemas.microsoft.com/office/drawing/2014/main" id="{1743C040-0A81-4A38-879D-07BBD184231D}"/>
              </a:ext>
            </a:extLst>
          </p:cNvPr>
          <p:cNvSpPr>
            <a:spLocks noGrp="1"/>
          </p:cNvSpPr>
          <p:nvPr>
            <p:ph type="pic" sz="quarter" idx="15"/>
          </p:nvPr>
        </p:nvSpPr>
        <p:spPr>
          <a:xfrm>
            <a:off x="6781800" y="2492375"/>
            <a:ext cx="2286000" cy="2514600"/>
          </a:xfrm>
          <a:solidFill>
            <a:schemeClr val="accent2"/>
          </a:solidFill>
        </p:spPr>
        <p:txBody>
          <a:bodyPr/>
          <a:lstStyle/>
          <a:p>
            <a:endParaRPr lang="en-US"/>
          </a:p>
        </p:txBody>
      </p:sp>
      <p:sp>
        <p:nvSpPr>
          <p:cNvPr id="3" name="Date Placeholder 2">
            <a:extLst>
              <a:ext uri="{FF2B5EF4-FFF2-40B4-BE49-F238E27FC236}">
                <a16:creationId xmlns:a16="http://schemas.microsoft.com/office/drawing/2014/main" id="{A0C71211-4520-46A1-9487-4AE49C3239EF}"/>
              </a:ext>
            </a:extLst>
          </p:cNvPr>
          <p:cNvSpPr>
            <a:spLocks noGrp="1"/>
          </p:cNvSpPr>
          <p:nvPr>
            <p:ph type="dt" sz="half" idx="10"/>
          </p:nvPr>
        </p:nvSpPr>
        <p:spPr/>
        <p:txBody>
          <a:bodyPr/>
          <a:lstStyle/>
          <a:p>
            <a:r>
              <a:rPr lang="en-US"/>
              <a:t>20XX</a:t>
            </a:r>
          </a:p>
        </p:txBody>
      </p:sp>
      <p:sp>
        <p:nvSpPr>
          <p:cNvPr id="4" name="Footer Placeholder 3">
            <a:extLst>
              <a:ext uri="{FF2B5EF4-FFF2-40B4-BE49-F238E27FC236}">
                <a16:creationId xmlns:a16="http://schemas.microsoft.com/office/drawing/2014/main" id="{96356206-85FD-45F5-A1F7-128DB34C860F}"/>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0203763F-C8CD-4BCB-9A0A-B10F000BC1DB}"/>
              </a:ext>
            </a:extLst>
          </p:cNvPr>
          <p:cNvSpPr>
            <a:spLocks noGrp="1"/>
          </p:cNvSpPr>
          <p:nvPr>
            <p:ph type="sldNum" sz="quarter" idx="12"/>
          </p:nvPr>
        </p:nvSpPr>
        <p:spPr/>
        <p:txBody>
          <a:bodyPr/>
          <a:lstStyle/>
          <a:p>
            <a:fld id="{294A09A9-5501-47C1-A89A-A340965A2BE2}" type="slidenum">
              <a:rPr lang="en-US" smtClean="0"/>
              <a:t>‹#›</a:t>
            </a:fld>
            <a:endParaRPr lang="en-US"/>
          </a:p>
        </p:txBody>
      </p:sp>
      <p:sp>
        <p:nvSpPr>
          <p:cNvPr id="10" name="Freeform: Shape 9">
            <a:extLst>
              <a:ext uri="{FF2B5EF4-FFF2-40B4-BE49-F238E27FC236}">
                <a16:creationId xmlns:a16="http://schemas.microsoft.com/office/drawing/2014/main" id="{7CBDD4A8-3B48-439C-B601-8D04B8714324}"/>
              </a:ext>
              <a:ext uri="{C183D7F6-B498-43B3-948B-1728B52AA6E4}">
                <adec:decorative xmlns="" xmlns:adec="http://schemas.microsoft.com/office/drawing/2017/decorative" val="1"/>
              </a:ext>
            </a:extLst>
          </p:cNvPr>
          <p:cNvSpPr/>
          <p:nvPr userDrawn="1"/>
        </p:nvSpPr>
        <p:spPr>
          <a:xfrm rot="13547565" flipH="1">
            <a:off x="761136" y="5210984"/>
            <a:ext cx="1044472" cy="908544"/>
          </a:xfrm>
          <a:custGeom>
            <a:avLst/>
            <a:gdLst>
              <a:gd name="connsiteX0" fmla="*/ 2669063 w 3859699"/>
              <a:gd name="connsiteY0" fmla="*/ 2093712 h 3357396"/>
              <a:gd name="connsiteX1" fmla="*/ 2719923 w 3859699"/>
              <a:gd name="connsiteY1" fmla="*/ 2108537 h 3357396"/>
              <a:gd name="connsiteX2" fmla="*/ 2680800 w 3859699"/>
              <a:gd name="connsiteY2" fmla="*/ 2134071 h 3357396"/>
              <a:gd name="connsiteX3" fmla="*/ 2681005 w 3859699"/>
              <a:gd name="connsiteY3" fmla="*/ 2134071 h 3357396"/>
              <a:gd name="connsiteX4" fmla="*/ 2677815 w 3859699"/>
              <a:gd name="connsiteY4" fmla="*/ 2137571 h 3357396"/>
              <a:gd name="connsiteX5" fmla="*/ 2466445 w 3859699"/>
              <a:gd name="connsiteY5" fmla="*/ 2477326 h 3357396"/>
              <a:gd name="connsiteX6" fmla="*/ 2440500 w 3859699"/>
              <a:gd name="connsiteY6" fmla="*/ 2506155 h 3357396"/>
              <a:gd name="connsiteX7" fmla="*/ 2392831 w 3859699"/>
              <a:gd name="connsiteY7" fmla="*/ 2555470 h 3357396"/>
              <a:gd name="connsiteX8" fmla="*/ 2363284 w 3859699"/>
              <a:gd name="connsiteY8" fmla="*/ 2586356 h 3357396"/>
              <a:gd name="connsiteX9" fmla="*/ 2459753 w 3859699"/>
              <a:gd name="connsiteY9" fmla="*/ 2414318 h 3357396"/>
              <a:gd name="connsiteX10" fmla="*/ 2536867 w 3859699"/>
              <a:gd name="connsiteY10" fmla="*/ 2267296 h 3357396"/>
              <a:gd name="connsiteX11" fmla="*/ 2669063 w 3859699"/>
              <a:gd name="connsiteY11" fmla="*/ 2093712 h 3357396"/>
              <a:gd name="connsiteX12" fmla="*/ 2772328 w 3859699"/>
              <a:gd name="connsiteY12" fmla="*/ 1912818 h 3357396"/>
              <a:gd name="connsiteX13" fmla="*/ 2772530 w 3859699"/>
              <a:gd name="connsiteY13" fmla="*/ 1912892 h 3357396"/>
              <a:gd name="connsiteX14" fmla="*/ 2772534 w 3859699"/>
              <a:gd name="connsiteY14" fmla="*/ 1912818 h 3357396"/>
              <a:gd name="connsiteX15" fmla="*/ 2245215 w 3859699"/>
              <a:gd name="connsiteY15" fmla="*/ 1880963 h 3357396"/>
              <a:gd name="connsiteX16" fmla="*/ 2276388 w 3859699"/>
              <a:gd name="connsiteY16" fmla="*/ 1873797 h 3357396"/>
              <a:gd name="connsiteX17" fmla="*/ 2393347 w 3859699"/>
              <a:gd name="connsiteY17" fmla="*/ 1926202 h 3357396"/>
              <a:gd name="connsiteX18" fmla="*/ 2483227 w 3859699"/>
              <a:gd name="connsiteY18" fmla="*/ 1957809 h 3357396"/>
              <a:gd name="connsiteX19" fmla="*/ 2601318 w 3859699"/>
              <a:gd name="connsiteY19" fmla="*/ 2019583 h 3357396"/>
              <a:gd name="connsiteX20" fmla="*/ 2524410 w 3859699"/>
              <a:gd name="connsiteY20" fmla="*/ 2034203 h 3357396"/>
              <a:gd name="connsiteX21" fmla="*/ 2524410 w 3859699"/>
              <a:gd name="connsiteY21" fmla="*/ 2034099 h 3357396"/>
              <a:gd name="connsiteX22" fmla="*/ 2520086 w 3859699"/>
              <a:gd name="connsiteY22" fmla="*/ 2035644 h 3357396"/>
              <a:gd name="connsiteX23" fmla="*/ 2152738 w 3859699"/>
              <a:gd name="connsiteY23" fmla="*/ 2108846 h 3357396"/>
              <a:gd name="connsiteX24" fmla="*/ 2155724 w 3859699"/>
              <a:gd name="connsiteY24" fmla="*/ 2089696 h 3357396"/>
              <a:gd name="connsiteX25" fmla="*/ 2156548 w 3859699"/>
              <a:gd name="connsiteY25" fmla="*/ 2085270 h 3357396"/>
              <a:gd name="connsiteX26" fmla="*/ 2210496 w 3859699"/>
              <a:gd name="connsiteY26" fmla="*/ 1907979 h 3357396"/>
              <a:gd name="connsiteX27" fmla="*/ 2245215 w 3859699"/>
              <a:gd name="connsiteY27" fmla="*/ 1880963 h 3357396"/>
              <a:gd name="connsiteX28" fmla="*/ 2934484 w 3859699"/>
              <a:gd name="connsiteY28" fmla="*/ 1597669 h 3357396"/>
              <a:gd name="connsiteX29" fmla="*/ 2934690 w 3859699"/>
              <a:gd name="connsiteY29" fmla="*/ 1597669 h 3357396"/>
              <a:gd name="connsiteX30" fmla="*/ 2894640 w 3859699"/>
              <a:gd name="connsiteY30" fmla="*/ 1741808 h 3357396"/>
              <a:gd name="connsiteX31" fmla="*/ 2847487 w 3859699"/>
              <a:gd name="connsiteY31" fmla="*/ 1880284 h 3357396"/>
              <a:gd name="connsiteX32" fmla="*/ 2934484 w 3859699"/>
              <a:gd name="connsiteY32" fmla="*/ 1597669 h 3357396"/>
              <a:gd name="connsiteX33" fmla="*/ 1963298 w 3859699"/>
              <a:gd name="connsiteY33" fmla="*/ 1789167 h 3357396"/>
              <a:gd name="connsiteX34" fmla="*/ 2158914 w 3859699"/>
              <a:gd name="connsiteY34" fmla="*/ 1835395 h 3357396"/>
              <a:gd name="connsiteX35" fmla="*/ 2170961 w 3859699"/>
              <a:gd name="connsiteY35" fmla="*/ 1901596 h 3357396"/>
              <a:gd name="connsiteX36" fmla="*/ 2147487 w 3859699"/>
              <a:gd name="connsiteY36" fmla="*/ 2055515 h 3357396"/>
              <a:gd name="connsiteX37" fmla="*/ 2136059 w 3859699"/>
              <a:gd name="connsiteY37" fmla="*/ 2082592 h 3357396"/>
              <a:gd name="connsiteX38" fmla="*/ 2136059 w 3859699"/>
              <a:gd name="connsiteY38" fmla="*/ 2082489 h 3357396"/>
              <a:gd name="connsiteX39" fmla="*/ 2101466 w 3859699"/>
              <a:gd name="connsiteY39" fmla="*/ 2103081 h 3357396"/>
              <a:gd name="connsiteX40" fmla="*/ 1963298 w 3859699"/>
              <a:gd name="connsiteY40" fmla="*/ 1789167 h 3357396"/>
              <a:gd name="connsiteX41" fmla="*/ 2803936 w 3859699"/>
              <a:gd name="connsiteY41" fmla="*/ 1468253 h 3357396"/>
              <a:gd name="connsiteX42" fmla="*/ 2803833 w 3859699"/>
              <a:gd name="connsiteY42" fmla="*/ 1471753 h 3357396"/>
              <a:gd name="connsiteX43" fmla="*/ 2805377 w 3859699"/>
              <a:gd name="connsiteY43" fmla="*/ 1469694 h 3357396"/>
              <a:gd name="connsiteX44" fmla="*/ 2801053 w 3859699"/>
              <a:gd name="connsiteY44" fmla="*/ 1431703 h 3357396"/>
              <a:gd name="connsiteX45" fmla="*/ 2818041 w 3859699"/>
              <a:gd name="connsiteY45" fmla="*/ 1465370 h 3357396"/>
              <a:gd name="connsiteX46" fmla="*/ 2801053 w 3859699"/>
              <a:gd name="connsiteY46" fmla="*/ 1431703 h 3357396"/>
              <a:gd name="connsiteX47" fmla="*/ 3002126 w 3859699"/>
              <a:gd name="connsiteY47" fmla="*/ 1352736 h 3357396"/>
              <a:gd name="connsiteX48" fmla="*/ 2821644 w 3859699"/>
              <a:gd name="connsiteY48" fmla="*/ 1933718 h 3357396"/>
              <a:gd name="connsiteX49" fmla="*/ 2777006 w 3859699"/>
              <a:gd name="connsiteY49" fmla="*/ 1914522 h 3357396"/>
              <a:gd name="connsiteX50" fmla="*/ 2772530 w 3859699"/>
              <a:gd name="connsiteY50" fmla="*/ 1912892 h 3357396"/>
              <a:gd name="connsiteX51" fmla="*/ 2771823 w 3859699"/>
              <a:gd name="connsiteY51" fmla="*/ 1925735 h 3357396"/>
              <a:gd name="connsiteX52" fmla="*/ 2713335 w 3859699"/>
              <a:gd name="connsiteY52" fmla="*/ 1897477 h 3357396"/>
              <a:gd name="connsiteX53" fmla="*/ 2393347 w 3859699"/>
              <a:gd name="connsiteY53" fmla="*/ 1575224 h 3357396"/>
              <a:gd name="connsiteX54" fmla="*/ 2550149 w 3859699"/>
              <a:gd name="connsiteY54" fmla="*/ 1660060 h 3357396"/>
              <a:gd name="connsiteX55" fmla="*/ 2548295 w 3859699"/>
              <a:gd name="connsiteY55" fmla="*/ 1657487 h 3357396"/>
              <a:gd name="connsiteX56" fmla="*/ 2734337 w 3859699"/>
              <a:gd name="connsiteY56" fmla="*/ 1748705 h 3357396"/>
              <a:gd name="connsiteX57" fmla="*/ 2700568 w 3859699"/>
              <a:gd name="connsiteY57" fmla="*/ 1686932 h 3357396"/>
              <a:gd name="connsiteX58" fmla="*/ 2555194 w 3859699"/>
              <a:gd name="connsiteY58" fmla="*/ 1586755 h 3357396"/>
              <a:gd name="connsiteX59" fmla="*/ 2683476 w 3859699"/>
              <a:gd name="connsiteY59" fmla="*/ 1653676 h 3357396"/>
              <a:gd name="connsiteX60" fmla="*/ 2746075 w 3859699"/>
              <a:gd name="connsiteY60" fmla="*/ 1691359 h 3357396"/>
              <a:gd name="connsiteX61" fmla="*/ 2681315 w 3859699"/>
              <a:gd name="connsiteY61" fmla="*/ 1518804 h 3357396"/>
              <a:gd name="connsiteX62" fmla="*/ 2706230 w 3859699"/>
              <a:gd name="connsiteY62" fmla="*/ 1476077 h 3357396"/>
              <a:gd name="connsiteX63" fmla="*/ 2707362 w 3859699"/>
              <a:gd name="connsiteY63" fmla="*/ 1477416 h 3357396"/>
              <a:gd name="connsiteX64" fmla="*/ 2786640 w 3859699"/>
              <a:gd name="connsiteY64" fmla="*/ 1636895 h 3357396"/>
              <a:gd name="connsiteX65" fmla="*/ 2807230 w 3859699"/>
              <a:gd name="connsiteY65" fmla="*/ 1544235 h 3357396"/>
              <a:gd name="connsiteX66" fmla="*/ 2794875 w 3859699"/>
              <a:gd name="connsiteY66" fmla="*/ 1632263 h 3357396"/>
              <a:gd name="connsiteX67" fmla="*/ 2756164 w 3859699"/>
              <a:gd name="connsiteY67" fmla="*/ 1691771 h 3357396"/>
              <a:gd name="connsiteX68" fmla="*/ 2798582 w 3859699"/>
              <a:gd name="connsiteY68" fmla="*/ 1662119 h 3357396"/>
              <a:gd name="connsiteX69" fmla="*/ 2865298 w 3859699"/>
              <a:gd name="connsiteY69" fmla="*/ 1627733 h 3357396"/>
              <a:gd name="connsiteX70" fmla="*/ 3002126 w 3859699"/>
              <a:gd name="connsiteY70" fmla="*/ 1352736 h 3357396"/>
              <a:gd name="connsiteX71" fmla="*/ 1695510 w 3859699"/>
              <a:gd name="connsiteY71" fmla="*/ 1723996 h 3357396"/>
              <a:gd name="connsiteX72" fmla="*/ 1075096 w 3859699"/>
              <a:gd name="connsiteY72" fmla="*/ 2194506 h 3357396"/>
              <a:gd name="connsiteX73" fmla="*/ 797115 w 3859699"/>
              <a:gd name="connsiteY73" fmla="*/ 2390123 h 3357396"/>
              <a:gd name="connsiteX74" fmla="*/ 802673 w 3859699"/>
              <a:gd name="connsiteY74" fmla="*/ 2399697 h 3357396"/>
              <a:gd name="connsiteX75" fmla="*/ 1710232 w 3859699"/>
              <a:gd name="connsiteY75" fmla="*/ 1728629 h 3357396"/>
              <a:gd name="connsiteX76" fmla="*/ 1695510 w 3859699"/>
              <a:gd name="connsiteY76" fmla="*/ 1723996 h 3357396"/>
              <a:gd name="connsiteX77" fmla="*/ 2541294 w 3859699"/>
              <a:gd name="connsiteY77" fmla="*/ 1460737 h 3357396"/>
              <a:gd name="connsiteX78" fmla="*/ 2655267 w 3859699"/>
              <a:gd name="connsiteY78" fmla="*/ 1557516 h 3357396"/>
              <a:gd name="connsiteX79" fmla="*/ 2658047 w 3859699"/>
              <a:gd name="connsiteY79" fmla="*/ 1599213 h 3357396"/>
              <a:gd name="connsiteX80" fmla="*/ 2639309 w 3859699"/>
              <a:gd name="connsiteY80" fmla="*/ 1576872 h 3357396"/>
              <a:gd name="connsiteX81" fmla="*/ 2622528 w 3859699"/>
              <a:gd name="connsiteY81" fmla="*/ 1574194 h 3357396"/>
              <a:gd name="connsiteX82" fmla="*/ 2596171 w 3859699"/>
              <a:gd name="connsiteY82" fmla="*/ 1547529 h 3357396"/>
              <a:gd name="connsiteX83" fmla="*/ 2582992 w 3859699"/>
              <a:gd name="connsiteY83" fmla="*/ 1539498 h 3357396"/>
              <a:gd name="connsiteX84" fmla="*/ 2588140 w 3859699"/>
              <a:gd name="connsiteY84" fmla="*/ 1554016 h 3357396"/>
              <a:gd name="connsiteX85" fmla="*/ 2624483 w 3859699"/>
              <a:gd name="connsiteY85" fmla="*/ 1583152 h 3357396"/>
              <a:gd name="connsiteX86" fmla="*/ 2606569 w 3859699"/>
              <a:gd name="connsiteY86" fmla="*/ 1584903 h 3357396"/>
              <a:gd name="connsiteX87" fmla="*/ 2541294 w 3859699"/>
              <a:gd name="connsiteY87" fmla="*/ 1460840 h 3357396"/>
              <a:gd name="connsiteX88" fmla="*/ 2263004 w 3859699"/>
              <a:gd name="connsiteY88" fmla="*/ 1472885 h 3357396"/>
              <a:gd name="connsiteX89" fmla="*/ 2408173 w 3859699"/>
              <a:gd name="connsiteY89" fmla="*/ 1662017 h 3357396"/>
              <a:gd name="connsiteX90" fmla="*/ 2410437 w 3859699"/>
              <a:gd name="connsiteY90" fmla="*/ 1664487 h 3357396"/>
              <a:gd name="connsiteX91" fmla="*/ 2558488 w 3859699"/>
              <a:gd name="connsiteY91" fmla="*/ 1828085 h 3357396"/>
              <a:gd name="connsiteX92" fmla="*/ 2681315 w 3859699"/>
              <a:gd name="connsiteY92" fmla="*/ 1970473 h 3357396"/>
              <a:gd name="connsiteX93" fmla="*/ 2384287 w 3859699"/>
              <a:gd name="connsiteY93" fmla="*/ 1873900 h 3357396"/>
              <a:gd name="connsiteX94" fmla="*/ 2293891 w 3859699"/>
              <a:gd name="connsiteY94" fmla="*/ 1830041 h 3357396"/>
              <a:gd name="connsiteX95" fmla="*/ 2285757 w 3859699"/>
              <a:gd name="connsiteY95" fmla="*/ 1830556 h 3357396"/>
              <a:gd name="connsiteX96" fmla="*/ 2282257 w 3859699"/>
              <a:gd name="connsiteY96" fmla="*/ 1815216 h 3357396"/>
              <a:gd name="connsiteX97" fmla="*/ 2276698 w 3859699"/>
              <a:gd name="connsiteY97" fmla="*/ 1810171 h 3357396"/>
              <a:gd name="connsiteX98" fmla="*/ 2248075 w 3859699"/>
              <a:gd name="connsiteY98" fmla="*/ 1803478 h 3357396"/>
              <a:gd name="connsiteX99" fmla="*/ 2223468 w 3859699"/>
              <a:gd name="connsiteY99" fmla="*/ 1792565 h 3357396"/>
              <a:gd name="connsiteX100" fmla="*/ 2227278 w 3859699"/>
              <a:gd name="connsiteY100" fmla="*/ 1707009 h 3357396"/>
              <a:gd name="connsiteX101" fmla="*/ 2229131 w 3859699"/>
              <a:gd name="connsiteY101" fmla="*/ 1663664 h 3357396"/>
              <a:gd name="connsiteX102" fmla="*/ 2231603 w 3859699"/>
              <a:gd name="connsiteY102" fmla="*/ 1645851 h 3357396"/>
              <a:gd name="connsiteX103" fmla="*/ 2263004 w 3859699"/>
              <a:gd name="connsiteY103" fmla="*/ 1472885 h 3357396"/>
              <a:gd name="connsiteX104" fmla="*/ 2654441 w 3859699"/>
              <a:gd name="connsiteY104" fmla="*/ 1313317 h 3357396"/>
              <a:gd name="connsiteX105" fmla="*/ 2723424 w 3859699"/>
              <a:gd name="connsiteY105" fmla="*/ 1392683 h 3357396"/>
              <a:gd name="connsiteX106" fmla="*/ 2713128 w 3859699"/>
              <a:gd name="connsiteY106" fmla="*/ 1425937 h 3357396"/>
              <a:gd name="connsiteX107" fmla="*/ 2697274 w 3859699"/>
              <a:gd name="connsiteY107" fmla="*/ 1438087 h 3357396"/>
              <a:gd name="connsiteX108" fmla="*/ 2675446 w 3859699"/>
              <a:gd name="connsiteY108" fmla="*/ 1420276 h 3357396"/>
              <a:gd name="connsiteX109" fmla="*/ 2676387 w 3859699"/>
              <a:gd name="connsiteY109" fmla="*/ 1450651 h 3357396"/>
              <a:gd name="connsiteX110" fmla="*/ 2684546 w 3859699"/>
              <a:gd name="connsiteY110" fmla="*/ 1451260 h 3357396"/>
              <a:gd name="connsiteX111" fmla="*/ 2684610 w 3859699"/>
              <a:gd name="connsiteY111" fmla="*/ 1451162 h 3357396"/>
              <a:gd name="connsiteX112" fmla="*/ 2684609 w 3859699"/>
              <a:gd name="connsiteY112" fmla="*/ 1451265 h 3357396"/>
              <a:gd name="connsiteX113" fmla="*/ 2684546 w 3859699"/>
              <a:gd name="connsiteY113" fmla="*/ 1451260 h 3357396"/>
              <a:gd name="connsiteX114" fmla="*/ 2667146 w 3859699"/>
              <a:gd name="connsiteY114" fmla="*/ 1477957 h 3357396"/>
              <a:gd name="connsiteX115" fmla="*/ 2676784 w 3859699"/>
              <a:gd name="connsiteY115" fmla="*/ 1512936 h 3357396"/>
              <a:gd name="connsiteX116" fmla="*/ 2620262 w 3859699"/>
              <a:gd name="connsiteY116" fmla="*/ 1411833 h 3357396"/>
              <a:gd name="connsiteX117" fmla="*/ 2627675 w 3859699"/>
              <a:gd name="connsiteY117" fmla="*/ 1382387 h 3357396"/>
              <a:gd name="connsiteX118" fmla="*/ 2654441 w 3859699"/>
              <a:gd name="connsiteY118" fmla="*/ 1313317 h 3357396"/>
              <a:gd name="connsiteX119" fmla="*/ 2300789 w 3859699"/>
              <a:gd name="connsiteY119" fmla="*/ 1402361 h 3357396"/>
              <a:gd name="connsiteX120" fmla="*/ 2473550 w 3859699"/>
              <a:gd name="connsiteY120" fmla="*/ 1546396 h 3357396"/>
              <a:gd name="connsiteX121" fmla="*/ 2473550 w 3859699"/>
              <a:gd name="connsiteY121" fmla="*/ 1546294 h 3357396"/>
              <a:gd name="connsiteX122" fmla="*/ 2604819 w 3859699"/>
              <a:gd name="connsiteY122" fmla="*/ 1665002 h 3357396"/>
              <a:gd name="connsiteX123" fmla="*/ 2528528 w 3859699"/>
              <a:gd name="connsiteY123" fmla="*/ 1629276 h 3357396"/>
              <a:gd name="connsiteX124" fmla="*/ 2441118 w 3859699"/>
              <a:gd name="connsiteY124" fmla="*/ 1554942 h 3357396"/>
              <a:gd name="connsiteX125" fmla="*/ 2300789 w 3859699"/>
              <a:gd name="connsiteY125" fmla="*/ 1402361 h 3357396"/>
              <a:gd name="connsiteX126" fmla="*/ 2768313 w 3859699"/>
              <a:gd name="connsiteY126" fmla="*/ 1246074 h 3357396"/>
              <a:gd name="connsiteX127" fmla="*/ 2753281 w 3859699"/>
              <a:gd name="connsiteY127" fmla="*/ 1365709 h 3357396"/>
              <a:gd name="connsiteX128" fmla="*/ 2838117 w 3859699"/>
              <a:gd name="connsiteY128" fmla="*/ 1288388 h 3357396"/>
              <a:gd name="connsiteX129" fmla="*/ 2825144 w 3859699"/>
              <a:gd name="connsiteY129" fmla="*/ 1452398 h 3357396"/>
              <a:gd name="connsiteX130" fmla="*/ 2813613 w 3859699"/>
              <a:gd name="connsiteY130" fmla="*/ 1435822 h 3357396"/>
              <a:gd name="connsiteX131" fmla="*/ 2812584 w 3859699"/>
              <a:gd name="connsiteY131" fmla="*/ 1342338 h 3357396"/>
              <a:gd name="connsiteX132" fmla="*/ 2729086 w 3859699"/>
              <a:gd name="connsiteY132" fmla="*/ 1381461 h 3357396"/>
              <a:gd name="connsiteX133" fmla="*/ 2697067 w 3859699"/>
              <a:gd name="connsiteY133" fmla="*/ 1302905 h 3357396"/>
              <a:gd name="connsiteX134" fmla="*/ 2739896 w 3859699"/>
              <a:gd name="connsiteY134" fmla="*/ 1383520 h 3357396"/>
              <a:gd name="connsiteX135" fmla="*/ 2739896 w 3859699"/>
              <a:gd name="connsiteY135" fmla="*/ 1383417 h 3357396"/>
              <a:gd name="connsiteX136" fmla="*/ 2750192 w 3859699"/>
              <a:gd name="connsiteY136" fmla="*/ 1342955 h 3357396"/>
              <a:gd name="connsiteX137" fmla="*/ 2768313 w 3859699"/>
              <a:gd name="connsiteY137" fmla="*/ 1246074 h 3357396"/>
              <a:gd name="connsiteX138" fmla="*/ 2575991 w 3859699"/>
              <a:gd name="connsiteY138" fmla="*/ 1285402 h 3357396"/>
              <a:gd name="connsiteX139" fmla="*/ 2604304 w 3859699"/>
              <a:gd name="connsiteY139" fmla="*/ 1347176 h 3357396"/>
              <a:gd name="connsiteX140" fmla="*/ 2601937 w 3859699"/>
              <a:gd name="connsiteY140" fmla="*/ 1448794 h 3357396"/>
              <a:gd name="connsiteX141" fmla="*/ 2602657 w 3859699"/>
              <a:gd name="connsiteY141" fmla="*/ 1458266 h 3357396"/>
              <a:gd name="connsiteX142" fmla="*/ 2600906 w 3859699"/>
              <a:gd name="connsiteY142" fmla="*/ 1457133 h 3357396"/>
              <a:gd name="connsiteX143" fmla="*/ 2594317 w 3859699"/>
              <a:gd name="connsiteY143" fmla="*/ 1423466 h 3357396"/>
              <a:gd name="connsiteX144" fmla="*/ 2587728 w 3859699"/>
              <a:gd name="connsiteY144" fmla="*/ 1388358 h 3357396"/>
              <a:gd name="connsiteX145" fmla="*/ 2585257 w 3859699"/>
              <a:gd name="connsiteY145" fmla="*/ 1384961 h 3357396"/>
              <a:gd name="connsiteX146" fmla="*/ 2581346 w 3859699"/>
              <a:gd name="connsiteY146" fmla="*/ 1386506 h 3357396"/>
              <a:gd name="connsiteX147" fmla="*/ 2568373 w 3859699"/>
              <a:gd name="connsiteY147" fmla="*/ 1416672 h 3357396"/>
              <a:gd name="connsiteX148" fmla="*/ 2558077 w 3859699"/>
              <a:gd name="connsiteY148" fmla="*/ 1434586 h 3357396"/>
              <a:gd name="connsiteX149" fmla="*/ 2554782 w 3859699"/>
              <a:gd name="connsiteY149" fmla="*/ 1436440 h 3357396"/>
              <a:gd name="connsiteX150" fmla="*/ 2544487 w 3859699"/>
              <a:gd name="connsiteY150" fmla="*/ 1423879 h 3357396"/>
              <a:gd name="connsiteX151" fmla="*/ 2557768 w 3859699"/>
              <a:gd name="connsiteY151" fmla="*/ 1432116 h 3357396"/>
              <a:gd name="connsiteX152" fmla="*/ 2557768 w 3859699"/>
              <a:gd name="connsiteY152" fmla="*/ 1432012 h 3357396"/>
              <a:gd name="connsiteX153" fmla="*/ 2557767 w 3859699"/>
              <a:gd name="connsiteY153" fmla="*/ 1390830 h 3357396"/>
              <a:gd name="connsiteX154" fmla="*/ 2558591 w 3859699"/>
              <a:gd name="connsiteY154" fmla="*/ 1357574 h 3357396"/>
              <a:gd name="connsiteX155" fmla="*/ 2562607 w 3859699"/>
              <a:gd name="connsiteY155" fmla="*/ 1308362 h 3357396"/>
              <a:gd name="connsiteX156" fmla="*/ 2573932 w 3859699"/>
              <a:gd name="connsiteY156" fmla="*/ 1288388 h 3357396"/>
              <a:gd name="connsiteX157" fmla="*/ 2575991 w 3859699"/>
              <a:gd name="connsiteY157" fmla="*/ 1285402 h 3357396"/>
              <a:gd name="connsiteX158" fmla="*/ 2241795 w 3859699"/>
              <a:gd name="connsiteY158" fmla="*/ 1342749 h 3357396"/>
              <a:gd name="connsiteX159" fmla="*/ 2375638 w 3859699"/>
              <a:gd name="connsiteY159" fmla="*/ 1566782 h 3357396"/>
              <a:gd name="connsiteX160" fmla="*/ 2241795 w 3859699"/>
              <a:gd name="connsiteY160" fmla="*/ 1342852 h 3357396"/>
              <a:gd name="connsiteX161" fmla="*/ 2805776 w 3859699"/>
              <a:gd name="connsiteY161" fmla="*/ 1148029 h 3357396"/>
              <a:gd name="connsiteX162" fmla="*/ 2807952 w 3859699"/>
              <a:gd name="connsiteY162" fmla="*/ 1147956 h 3357396"/>
              <a:gd name="connsiteX163" fmla="*/ 2807952 w 3859699"/>
              <a:gd name="connsiteY163" fmla="*/ 1147853 h 3357396"/>
              <a:gd name="connsiteX164" fmla="*/ 2757709 w 3859699"/>
              <a:gd name="connsiteY164" fmla="*/ 1197067 h 3357396"/>
              <a:gd name="connsiteX165" fmla="*/ 2805776 w 3859699"/>
              <a:gd name="connsiteY165" fmla="*/ 1148029 h 3357396"/>
              <a:gd name="connsiteX166" fmla="*/ 1665749 w 3859699"/>
              <a:gd name="connsiteY166" fmla="*/ 1414840 h 3357396"/>
              <a:gd name="connsiteX167" fmla="*/ 1669976 w 3859699"/>
              <a:gd name="connsiteY167" fmla="*/ 1494919 h 3357396"/>
              <a:gd name="connsiteX168" fmla="*/ 1680272 w 3859699"/>
              <a:gd name="connsiteY168" fmla="*/ 1545264 h 3357396"/>
              <a:gd name="connsiteX169" fmla="*/ 1645988 w 3859699"/>
              <a:gd name="connsiteY169" fmla="*/ 1549074 h 3357396"/>
              <a:gd name="connsiteX170" fmla="*/ 1658652 w 3859699"/>
              <a:gd name="connsiteY170" fmla="*/ 1444471 h 3357396"/>
              <a:gd name="connsiteX171" fmla="*/ 1658652 w 3859699"/>
              <a:gd name="connsiteY171" fmla="*/ 1444367 h 3357396"/>
              <a:gd name="connsiteX172" fmla="*/ 1665749 w 3859699"/>
              <a:gd name="connsiteY172" fmla="*/ 1414840 h 3357396"/>
              <a:gd name="connsiteX173" fmla="*/ 2598950 w 3859699"/>
              <a:gd name="connsiteY173" fmla="*/ 1100802 h 3357396"/>
              <a:gd name="connsiteX174" fmla="*/ 2624071 w 3859699"/>
              <a:gd name="connsiteY174" fmla="*/ 1146103 h 3357396"/>
              <a:gd name="connsiteX175" fmla="*/ 2632823 w 3859699"/>
              <a:gd name="connsiteY175" fmla="*/ 1169165 h 3357396"/>
              <a:gd name="connsiteX176" fmla="*/ 2655988 w 3859699"/>
              <a:gd name="connsiteY176" fmla="*/ 1194903 h 3357396"/>
              <a:gd name="connsiteX177" fmla="*/ 2666284 w 3859699"/>
              <a:gd name="connsiteY177" fmla="*/ 1194080 h 3357396"/>
              <a:gd name="connsiteX178" fmla="*/ 2687492 w 3859699"/>
              <a:gd name="connsiteY178" fmla="*/ 1151148 h 3357396"/>
              <a:gd name="connsiteX179" fmla="*/ 2716835 w 3859699"/>
              <a:gd name="connsiteY179" fmla="*/ 1245455 h 3357396"/>
              <a:gd name="connsiteX180" fmla="*/ 2708907 w 3859699"/>
              <a:gd name="connsiteY180" fmla="*/ 1233101 h 3357396"/>
              <a:gd name="connsiteX181" fmla="*/ 2697517 w 3859699"/>
              <a:gd name="connsiteY181" fmla="*/ 1231504 h 3357396"/>
              <a:gd name="connsiteX182" fmla="*/ 2694287 w 3859699"/>
              <a:gd name="connsiteY182" fmla="*/ 1238352 h 3357396"/>
              <a:gd name="connsiteX183" fmla="*/ 2686256 w 3859699"/>
              <a:gd name="connsiteY183" fmla="*/ 1256370 h 3357396"/>
              <a:gd name="connsiteX184" fmla="*/ 2669063 w 3859699"/>
              <a:gd name="connsiteY184" fmla="*/ 1254001 h 3357396"/>
              <a:gd name="connsiteX185" fmla="*/ 2657674 w 3859699"/>
              <a:gd name="connsiteY185" fmla="*/ 1255618 h 3357396"/>
              <a:gd name="connsiteX186" fmla="*/ 2656605 w 3859699"/>
              <a:gd name="connsiteY186" fmla="*/ 1263473 h 3357396"/>
              <a:gd name="connsiteX187" fmla="*/ 2657635 w 3859699"/>
              <a:gd name="connsiteY187" fmla="*/ 1266459 h 3357396"/>
              <a:gd name="connsiteX188" fmla="*/ 2655473 w 3859699"/>
              <a:gd name="connsiteY188" fmla="*/ 1268724 h 3357396"/>
              <a:gd name="connsiteX189" fmla="*/ 2629322 w 3859699"/>
              <a:gd name="connsiteY189" fmla="*/ 1293536 h 3357396"/>
              <a:gd name="connsiteX190" fmla="*/ 2628704 w 3859699"/>
              <a:gd name="connsiteY190" fmla="*/ 1210142 h 3357396"/>
              <a:gd name="connsiteX191" fmla="*/ 2624381 w 3859699"/>
              <a:gd name="connsiteY191" fmla="*/ 1199846 h 3357396"/>
              <a:gd name="connsiteX192" fmla="*/ 2621085 w 3859699"/>
              <a:gd name="connsiteY192" fmla="*/ 1199126 h 3357396"/>
              <a:gd name="connsiteX193" fmla="*/ 2613878 w 3859699"/>
              <a:gd name="connsiteY193" fmla="*/ 1203552 h 3357396"/>
              <a:gd name="connsiteX194" fmla="*/ 2598847 w 3859699"/>
              <a:gd name="connsiteY194" fmla="*/ 1224143 h 3357396"/>
              <a:gd name="connsiteX195" fmla="*/ 2594419 w 3859699"/>
              <a:gd name="connsiteY195" fmla="*/ 1229497 h 3357396"/>
              <a:gd name="connsiteX196" fmla="*/ 2592670 w 3859699"/>
              <a:gd name="connsiteY196" fmla="*/ 1155780 h 3357396"/>
              <a:gd name="connsiteX197" fmla="*/ 2592670 w 3859699"/>
              <a:gd name="connsiteY197" fmla="*/ 1155678 h 3357396"/>
              <a:gd name="connsiteX198" fmla="*/ 2598950 w 3859699"/>
              <a:gd name="connsiteY198" fmla="*/ 1100802 h 3357396"/>
              <a:gd name="connsiteX199" fmla="*/ 2393346 w 3859699"/>
              <a:gd name="connsiteY199" fmla="*/ 1158355 h 3357396"/>
              <a:gd name="connsiteX200" fmla="*/ 2398700 w 3859699"/>
              <a:gd name="connsiteY200" fmla="*/ 1160208 h 3357396"/>
              <a:gd name="connsiteX201" fmla="*/ 2423822 w 3859699"/>
              <a:gd name="connsiteY201" fmla="*/ 1172048 h 3357396"/>
              <a:gd name="connsiteX202" fmla="*/ 2467578 w 3859699"/>
              <a:gd name="connsiteY202" fmla="*/ 1259664 h 3357396"/>
              <a:gd name="connsiteX203" fmla="*/ 2534191 w 3859699"/>
              <a:gd name="connsiteY203" fmla="*/ 1430364 h 3357396"/>
              <a:gd name="connsiteX204" fmla="*/ 2532750 w 3859699"/>
              <a:gd name="connsiteY204" fmla="*/ 1436337 h 3357396"/>
              <a:gd name="connsiteX205" fmla="*/ 2532750 w 3859699"/>
              <a:gd name="connsiteY205" fmla="*/ 1436233 h 3357396"/>
              <a:gd name="connsiteX206" fmla="*/ 2524512 w 3859699"/>
              <a:gd name="connsiteY206" fmla="*/ 1445602 h 3357396"/>
              <a:gd name="connsiteX207" fmla="*/ 2393346 w 3859699"/>
              <a:gd name="connsiteY207" fmla="*/ 1158355 h 3357396"/>
              <a:gd name="connsiteX208" fmla="*/ 2769136 w 3859699"/>
              <a:gd name="connsiteY208" fmla="*/ 957385 h 3357396"/>
              <a:gd name="connsiteX209" fmla="*/ 2776137 w 3859699"/>
              <a:gd name="connsiteY209" fmla="*/ 1087006 h 3357396"/>
              <a:gd name="connsiteX210" fmla="*/ 2767592 w 3859699"/>
              <a:gd name="connsiteY210" fmla="*/ 1099670 h 3357396"/>
              <a:gd name="connsiteX211" fmla="*/ 2763577 w 3859699"/>
              <a:gd name="connsiteY211" fmla="*/ 1099670 h 3357396"/>
              <a:gd name="connsiteX212" fmla="*/ 2769136 w 3859699"/>
              <a:gd name="connsiteY212" fmla="*/ 1118304 h 3357396"/>
              <a:gd name="connsiteX213" fmla="*/ 2744015 w 3859699"/>
              <a:gd name="connsiteY213" fmla="*/ 1168960 h 3357396"/>
              <a:gd name="connsiteX214" fmla="*/ 2769136 w 3859699"/>
              <a:gd name="connsiteY214" fmla="*/ 957487 h 3357396"/>
              <a:gd name="connsiteX215" fmla="*/ 808131 w 3859699"/>
              <a:gd name="connsiteY215" fmla="*/ 1516642 h 3357396"/>
              <a:gd name="connsiteX216" fmla="*/ 1494745 w 3859699"/>
              <a:gd name="connsiteY216" fmla="*/ 1557825 h 3357396"/>
              <a:gd name="connsiteX217" fmla="*/ 1384274 w 3859699"/>
              <a:gd name="connsiteY217" fmla="*/ 1570076 h 3357396"/>
              <a:gd name="connsiteX218" fmla="*/ 1343606 w 3859699"/>
              <a:gd name="connsiteY218" fmla="*/ 1570694 h 3357396"/>
              <a:gd name="connsiteX219" fmla="*/ 1207395 w 3859699"/>
              <a:gd name="connsiteY219" fmla="*/ 1561119 h 3357396"/>
              <a:gd name="connsiteX220" fmla="*/ 985010 w 3859699"/>
              <a:gd name="connsiteY220" fmla="*/ 1546499 h 3357396"/>
              <a:gd name="connsiteX221" fmla="*/ 985009 w 3859699"/>
              <a:gd name="connsiteY221" fmla="*/ 1548558 h 3357396"/>
              <a:gd name="connsiteX222" fmla="*/ 954843 w 3859699"/>
              <a:gd name="connsiteY222" fmla="*/ 1534866 h 3357396"/>
              <a:gd name="connsiteX223" fmla="*/ 1627147 w 3859699"/>
              <a:gd name="connsiteY223" fmla="*/ 1234645 h 3357396"/>
              <a:gd name="connsiteX224" fmla="*/ 1613763 w 3859699"/>
              <a:gd name="connsiteY224" fmla="*/ 1488638 h 3357396"/>
              <a:gd name="connsiteX225" fmla="*/ 1627147 w 3859699"/>
              <a:gd name="connsiteY225" fmla="*/ 1234748 h 3357396"/>
              <a:gd name="connsiteX226" fmla="*/ 1735730 w 3859699"/>
              <a:gd name="connsiteY226" fmla="*/ 943844 h 3357396"/>
              <a:gd name="connsiteX227" fmla="*/ 1741017 w 3859699"/>
              <a:gd name="connsiteY227" fmla="*/ 946573 h 3357396"/>
              <a:gd name="connsiteX228" fmla="*/ 1743692 w 3859699"/>
              <a:gd name="connsiteY228" fmla="*/ 1404112 h 3357396"/>
              <a:gd name="connsiteX229" fmla="*/ 1743693 w 3859699"/>
              <a:gd name="connsiteY229" fmla="*/ 1413789 h 3357396"/>
              <a:gd name="connsiteX230" fmla="*/ 1745444 w 3859699"/>
              <a:gd name="connsiteY230" fmla="*/ 1582637 h 3357396"/>
              <a:gd name="connsiteX231" fmla="*/ 1740810 w 3859699"/>
              <a:gd name="connsiteY231" fmla="*/ 1589329 h 3357396"/>
              <a:gd name="connsiteX232" fmla="*/ 1737310 w 3859699"/>
              <a:gd name="connsiteY232" fmla="*/ 1590153 h 3357396"/>
              <a:gd name="connsiteX233" fmla="*/ 1732676 w 3859699"/>
              <a:gd name="connsiteY233" fmla="*/ 1588712 h 3357396"/>
              <a:gd name="connsiteX234" fmla="*/ 1698702 w 3859699"/>
              <a:gd name="connsiteY234" fmla="*/ 1293330 h 3357396"/>
              <a:gd name="connsiteX235" fmla="*/ 1698701 w 3859699"/>
              <a:gd name="connsiteY235" fmla="*/ 1293227 h 3357396"/>
              <a:gd name="connsiteX236" fmla="*/ 1718778 w 3859699"/>
              <a:gd name="connsiteY236" fmla="*/ 1051281 h 3357396"/>
              <a:gd name="connsiteX237" fmla="*/ 1726808 w 3859699"/>
              <a:gd name="connsiteY237" fmla="*/ 951103 h 3357396"/>
              <a:gd name="connsiteX238" fmla="*/ 1735730 w 3859699"/>
              <a:gd name="connsiteY238" fmla="*/ 943844 h 3357396"/>
              <a:gd name="connsiteX239" fmla="*/ 1594716 w 3859699"/>
              <a:gd name="connsiteY239" fmla="*/ 939264 h 3357396"/>
              <a:gd name="connsiteX240" fmla="*/ 1597290 w 3859699"/>
              <a:gd name="connsiteY240" fmla="*/ 1349956 h 3357396"/>
              <a:gd name="connsiteX241" fmla="*/ 1597290 w 3859699"/>
              <a:gd name="connsiteY241" fmla="*/ 1349853 h 3357396"/>
              <a:gd name="connsiteX242" fmla="*/ 1593069 w 3859699"/>
              <a:gd name="connsiteY242" fmla="*/ 1197272 h 3357396"/>
              <a:gd name="connsiteX243" fmla="*/ 1594716 w 3859699"/>
              <a:gd name="connsiteY243" fmla="*/ 939264 h 3357396"/>
              <a:gd name="connsiteX244" fmla="*/ 1513792 w 3859699"/>
              <a:gd name="connsiteY244" fmla="*/ 661283 h 3357396"/>
              <a:gd name="connsiteX245" fmla="*/ 1529646 w 3859699"/>
              <a:gd name="connsiteY245" fmla="*/ 797597 h 3357396"/>
              <a:gd name="connsiteX246" fmla="*/ 1537678 w 3859699"/>
              <a:gd name="connsiteY246" fmla="*/ 804494 h 3357396"/>
              <a:gd name="connsiteX247" fmla="*/ 1545708 w 3859699"/>
              <a:gd name="connsiteY247" fmla="*/ 797597 h 3357396"/>
              <a:gd name="connsiteX248" fmla="*/ 1548076 w 3859699"/>
              <a:gd name="connsiteY248" fmla="*/ 780609 h 3357396"/>
              <a:gd name="connsiteX249" fmla="*/ 1545502 w 3859699"/>
              <a:gd name="connsiteY249" fmla="*/ 870490 h 3357396"/>
              <a:gd name="connsiteX250" fmla="*/ 1544267 w 3859699"/>
              <a:gd name="connsiteY250" fmla="*/ 870489 h 3357396"/>
              <a:gd name="connsiteX251" fmla="*/ 1533972 w 3859699"/>
              <a:gd name="connsiteY251" fmla="*/ 1008965 h 3357396"/>
              <a:gd name="connsiteX252" fmla="*/ 1526662 w 3859699"/>
              <a:gd name="connsiteY252" fmla="*/ 880167 h 3357396"/>
              <a:gd name="connsiteX253" fmla="*/ 1513792 w 3859699"/>
              <a:gd name="connsiteY253" fmla="*/ 661283 h 3357396"/>
              <a:gd name="connsiteX254" fmla="*/ 1135016 w 3859699"/>
              <a:gd name="connsiteY254" fmla="*/ 705451 h 3357396"/>
              <a:gd name="connsiteX255" fmla="*/ 1235914 w 3859699"/>
              <a:gd name="connsiteY255" fmla="*/ 944206 h 3357396"/>
              <a:gd name="connsiteX256" fmla="*/ 1332589 w 3859699"/>
              <a:gd name="connsiteY256" fmla="*/ 1174725 h 3357396"/>
              <a:gd name="connsiteX257" fmla="*/ 1135016 w 3859699"/>
              <a:gd name="connsiteY257" fmla="*/ 705451 h 3357396"/>
              <a:gd name="connsiteX258" fmla="*/ 308176 w 3859699"/>
              <a:gd name="connsiteY258" fmla="*/ 823130 h 3357396"/>
              <a:gd name="connsiteX259" fmla="*/ 552181 w 3859699"/>
              <a:gd name="connsiteY259" fmla="*/ 1003097 h 3357396"/>
              <a:gd name="connsiteX260" fmla="*/ 998702 w 3859699"/>
              <a:gd name="connsiteY260" fmla="*/ 1305788 h 3357396"/>
              <a:gd name="connsiteX261" fmla="*/ 836443 w 3859699"/>
              <a:gd name="connsiteY261" fmla="*/ 1214261 h 3357396"/>
              <a:gd name="connsiteX262" fmla="*/ 827899 w 3859699"/>
              <a:gd name="connsiteY262" fmla="*/ 1208289 h 3357396"/>
              <a:gd name="connsiteX263" fmla="*/ 764786 w 3859699"/>
              <a:gd name="connsiteY263" fmla="*/ 1166076 h 3357396"/>
              <a:gd name="connsiteX264" fmla="*/ 308176 w 3859699"/>
              <a:gd name="connsiteY264" fmla="*/ 823130 h 3357396"/>
              <a:gd name="connsiteX265" fmla="*/ 1555284 w 3859699"/>
              <a:gd name="connsiteY265" fmla="*/ 71961 h 3357396"/>
              <a:gd name="connsiteX266" fmla="*/ 1557137 w 3859699"/>
              <a:gd name="connsiteY266" fmla="*/ 256252 h 3357396"/>
              <a:gd name="connsiteX267" fmla="*/ 1557754 w 3859699"/>
              <a:gd name="connsiteY267" fmla="*/ 373211 h 3357396"/>
              <a:gd name="connsiteX268" fmla="*/ 1551166 w 3859699"/>
              <a:gd name="connsiteY268" fmla="*/ 289405 h 3357396"/>
              <a:gd name="connsiteX269" fmla="*/ 1542825 w 3859699"/>
              <a:gd name="connsiteY269" fmla="*/ 282095 h 3357396"/>
              <a:gd name="connsiteX270" fmla="*/ 1534898 w 3859699"/>
              <a:gd name="connsiteY270" fmla="*/ 289919 h 3357396"/>
              <a:gd name="connsiteX271" fmla="*/ 1536957 w 3859699"/>
              <a:gd name="connsiteY271" fmla="*/ 481830 h 3357396"/>
              <a:gd name="connsiteX272" fmla="*/ 1536956 w 3859699"/>
              <a:gd name="connsiteY272" fmla="*/ 728925 h 3357396"/>
              <a:gd name="connsiteX273" fmla="*/ 1555284 w 3859699"/>
              <a:gd name="connsiteY273" fmla="*/ 71961 h 3357396"/>
              <a:gd name="connsiteX274" fmla="*/ 693540 w 3859699"/>
              <a:gd name="connsiteY274" fmla="*/ 231441 h 3357396"/>
              <a:gd name="connsiteX275" fmla="*/ 689834 w 3859699"/>
              <a:gd name="connsiteY275" fmla="*/ 238235 h 3357396"/>
              <a:gd name="connsiteX276" fmla="*/ 689834 w 3859699"/>
              <a:gd name="connsiteY276" fmla="*/ 269122 h 3357396"/>
              <a:gd name="connsiteX277" fmla="*/ 690658 w 3859699"/>
              <a:gd name="connsiteY277" fmla="*/ 272623 h 3357396"/>
              <a:gd name="connsiteX278" fmla="*/ 721338 w 3859699"/>
              <a:gd name="connsiteY278" fmla="*/ 333469 h 3357396"/>
              <a:gd name="connsiteX279" fmla="*/ 1034016 w 3859699"/>
              <a:gd name="connsiteY279" fmla="*/ 1003303 h 3357396"/>
              <a:gd name="connsiteX280" fmla="*/ 1051313 w 3859699"/>
              <a:gd name="connsiteY280" fmla="*/ 1031924 h 3357396"/>
              <a:gd name="connsiteX281" fmla="*/ 1053268 w 3859699"/>
              <a:gd name="connsiteY281" fmla="*/ 1034190 h 3357396"/>
              <a:gd name="connsiteX282" fmla="*/ 1161578 w 3859699"/>
              <a:gd name="connsiteY282" fmla="*/ 1158458 h 3357396"/>
              <a:gd name="connsiteX283" fmla="*/ 1270609 w 3859699"/>
              <a:gd name="connsiteY283" fmla="*/ 1279740 h 3357396"/>
              <a:gd name="connsiteX284" fmla="*/ 1278434 w 3859699"/>
              <a:gd name="connsiteY284" fmla="*/ 1273769 h 3357396"/>
              <a:gd name="connsiteX285" fmla="*/ 1281831 w 3859699"/>
              <a:gd name="connsiteY285" fmla="*/ 1261620 h 3357396"/>
              <a:gd name="connsiteX286" fmla="*/ 1281831 w 3859699"/>
              <a:gd name="connsiteY286" fmla="*/ 1256781 h 3357396"/>
              <a:gd name="connsiteX287" fmla="*/ 1209762 w 3859699"/>
              <a:gd name="connsiteY287" fmla="*/ 1142912 h 3357396"/>
              <a:gd name="connsiteX288" fmla="*/ 1169403 w 3859699"/>
              <a:gd name="connsiteY288" fmla="*/ 1088448 h 3357396"/>
              <a:gd name="connsiteX289" fmla="*/ 926530 w 3859699"/>
              <a:gd name="connsiteY289" fmla="*/ 711629 h 3357396"/>
              <a:gd name="connsiteX290" fmla="*/ 893173 w 3859699"/>
              <a:gd name="connsiteY290" fmla="*/ 654487 h 3357396"/>
              <a:gd name="connsiteX291" fmla="*/ 769625 w 3859699"/>
              <a:gd name="connsiteY291" fmla="*/ 374961 h 3357396"/>
              <a:gd name="connsiteX292" fmla="*/ 701262 w 3859699"/>
              <a:gd name="connsiteY292" fmla="*/ 230822 h 3357396"/>
              <a:gd name="connsiteX293" fmla="*/ 693540 w 3859699"/>
              <a:gd name="connsiteY293" fmla="*/ 231441 h 3357396"/>
              <a:gd name="connsiteX294" fmla="*/ 233327 w 3859699"/>
              <a:gd name="connsiteY294" fmla="*/ 166165 h 3357396"/>
              <a:gd name="connsiteX295" fmla="*/ 229311 w 3859699"/>
              <a:gd name="connsiteY295" fmla="*/ 176461 h 3357396"/>
              <a:gd name="connsiteX296" fmla="*/ 840047 w 3859699"/>
              <a:gd name="connsiteY296" fmla="*/ 1042735 h 3357396"/>
              <a:gd name="connsiteX297" fmla="*/ 870934 w 3859699"/>
              <a:gd name="connsiteY297" fmla="*/ 1075886 h 3357396"/>
              <a:gd name="connsiteX298" fmla="*/ 404130 w 3859699"/>
              <a:gd name="connsiteY298" fmla="*/ 528880 h 3357396"/>
              <a:gd name="connsiteX299" fmla="*/ 232503 w 3859699"/>
              <a:gd name="connsiteY299" fmla="*/ 305466 h 3357396"/>
              <a:gd name="connsiteX300" fmla="*/ 221060 w 3859699"/>
              <a:gd name="connsiteY300" fmla="*/ 304286 h 3357396"/>
              <a:gd name="connsiteX301" fmla="*/ 218809 w 3859699"/>
              <a:gd name="connsiteY301" fmla="*/ 314011 h 3357396"/>
              <a:gd name="connsiteX302" fmla="*/ 1074890 w 3859699"/>
              <a:gd name="connsiteY302" fmla="*/ 1319481 h 3357396"/>
              <a:gd name="connsiteX303" fmla="*/ 196160 w 3859699"/>
              <a:gd name="connsiteY303" fmla="*/ 477814 h 3357396"/>
              <a:gd name="connsiteX304" fmla="*/ 83525 w 3859699"/>
              <a:gd name="connsiteY304" fmla="*/ 338103 h 3357396"/>
              <a:gd name="connsiteX305" fmla="*/ 74774 w 3859699"/>
              <a:gd name="connsiteY305" fmla="*/ 335529 h 3357396"/>
              <a:gd name="connsiteX306" fmla="*/ 64478 w 3859699"/>
              <a:gd name="connsiteY306" fmla="*/ 345825 h 3357396"/>
              <a:gd name="connsiteX307" fmla="*/ 438415 w 3859699"/>
              <a:gd name="connsiteY307" fmla="*/ 848456 h 3357396"/>
              <a:gd name="connsiteX308" fmla="*/ 521913 w 3859699"/>
              <a:gd name="connsiteY308" fmla="*/ 947501 h 3357396"/>
              <a:gd name="connsiteX309" fmla="*/ 343387 w 3859699"/>
              <a:gd name="connsiteY309" fmla="*/ 803362 h 3357396"/>
              <a:gd name="connsiteX310" fmla="*/ 59331 w 3859699"/>
              <a:gd name="connsiteY310" fmla="*/ 584477 h 3357396"/>
              <a:gd name="connsiteX311" fmla="*/ 49035 w 3859699"/>
              <a:gd name="connsiteY311" fmla="*/ 585918 h 3357396"/>
              <a:gd name="connsiteX312" fmla="*/ 49035 w 3859699"/>
              <a:gd name="connsiteY312" fmla="*/ 596214 h 3357396"/>
              <a:gd name="connsiteX313" fmla="*/ 1343606 w 3859699"/>
              <a:gd name="connsiteY313" fmla="*/ 1459811 h 3357396"/>
              <a:gd name="connsiteX314" fmla="*/ 1356784 w 3859699"/>
              <a:gd name="connsiteY314" fmla="*/ 1471856 h 3357396"/>
              <a:gd name="connsiteX315" fmla="*/ 1358329 w 3859699"/>
              <a:gd name="connsiteY315" fmla="*/ 1474018 h 3357396"/>
              <a:gd name="connsiteX316" fmla="*/ 39151 w 3859699"/>
              <a:gd name="connsiteY316" fmla="*/ 853089 h 3357396"/>
              <a:gd name="connsiteX317" fmla="*/ 14853 w 3859699"/>
              <a:gd name="connsiteY317" fmla="*/ 837544 h 3357396"/>
              <a:gd name="connsiteX318" fmla="*/ 5999 w 3859699"/>
              <a:gd name="connsiteY318" fmla="*/ 837544 h 3357396"/>
              <a:gd name="connsiteX319" fmla="*/ 234 w 3859699"/>
              <a:gd name="connsiteY319" fmla="*/ 851134 h 3357396"/>
              <a:gd name="connsiteX320" fmla="*/ 1236428 w 3859699"/>
              <a:gd name="connsiteY320" fmla="*/ 1489462 h 3357396"/>
              <a:gd name="connsiteX321" fmla="*/ 532826 w 3859699"/>
              <a:gd name="connsiteY321" fmla="*/ 1384035 h 3357396"/>
              <a:gd name="connsiteX322" fmla="*/ 384878 w 3859699"/>
              <a:gd name="connsiteY322" fmla="*/ 1345323 h 3357396"/>
              <a:gd name="connsiteX323" fmla="*/ 377054 w 3859699"/>
              <a:gd name="connsiteY323" fmla="*/ 1347485 h 3357396"/>
              <a:gd name="connsiteX324" fmla="*/ 374994 w 3859699"/>
              <a:gd name="connsiteY324" fmla="*/ 1355310 h 3357396"/>
              <a:gd name="connsiteX325" fmla="*/ 631766 w 3859699"/>
              <a:gd name="connsiteY325" fmla="*/ 1464753 h 3357396"/>
              <a:gd name="connsiteX326" fmla="*/ 771685 w 3859699"/>
              <a:gd name="connsiteY326" fmla="*/ 1514171 h 3357396"/>
              <a:gd name="connsiteX327" fmla="*/ 781979 w 3859699"/>
              <a:gd name="connsiteY327" fmla="*/ 1520246 h 3357396"/>
              <a:gd name="connsiteX328" fmla="*/ 453446 w 3859699"/>
              <a:gd name="connsiteY328" fmla="*/ 1533733 h 3357396"/>
              <a:gd name="connsiteX329" fmla="*/ 198527 w 3859699"/>
              <a:gd name="connsiteY329" fmla="*/ 1547941 h 3357396"/>
              <a:gd name="connsiteX330" fmla="*/ 198527 w 3859699"/>
              <a:gd name="connsiteY330" fmla="*/ 1558237 h 3357396"/>
              <a:gd name="connsiteX331" fmla="*/ 205014 w 3859699"/>
              <a:gd name="connsiteY331" fmla="*/ 1562253 h 3357396"/>
              <a:gd name="connsiteX332" fmla="*/ 937752 w 3859699"/>
              <a:gd name="connsiteY332" fmla="*/ 1578313 h 3357396"/>
              <a:gd name="connsiteX333" fmla="*/ 1291510 w 3859699"/>
              <a:gd name="connsiteY333" fmla="*/ 1584490 h 3357396"/>
              <a:gd name="connsiteX334" fmla="*/ 1281214 w 3859699"/>
              <a:gd name="connsiteY334" fmla="*/ 1586344 h 3357396"/>
              <a:gd name="connsiteX335" fmla="*/ 1190510 w 3859699"/>
              <a:gd name="connsiteY335" fmla="*/ 1609611 h 3357396"/>
              <a:gd name="connsiteX336" fmla="*/ 1186288 w 3859699"/>
              <a:gd name="connsiteY336" fmla="*/ 1615686 h 3357396"/>
              <a:gd name="connsiteX337" fmla="*/ 645357 w 3859699"/>
              <a:gd name="connsiteY337" fmla="*/ 1592933 h 3357396"/>
              <a:gd name="connsiteX338" fmla="*/ 635171 w 3859699"/>
              <a:gd name="connsiteY338" fmla="*/ 1598277 h 3357396"/>
              <a:gd name="connsiteX339" fmla="*/ 637841 w 3859699"/>
              <a:gd name="connsiteY339" fmla="*/ 1607038 h 3357396"/>
              <a:gd name="connsiteX340" fmla="*/ 1208630 w 3859699"/>
              <a:gd name="connsiteY340" fmla="*/ 1660679 h 3357396"/>
              <a:gd name="connsiteX341" fmla="*/ 296336 w 3859699"/>
              <a:gd name="connsiteY341" fmla="*/ 1765693 h 3357396"/>
              <a:gd name="connsiteX342" fmla="*/ 288821 w 3859699"/>
              <a:gd name="connsiteY342" fmla="*/ 1770326 h 3357396"/>
              <a:gd name="connsiteX343" fmla="*/ 290158 w 3859699"/>
              <a:gd name="connsiteY343" fmla="*/ 1788447 h 3357396"/>
              <a:gd name="connsiteX344" fmla="*/ 1306130 w 3859699"/>
              <a:gd name="connsiteY344" fmla="*/ 1694756 h 3357396"/>
              <a:gd name="connsiteX345" fmla="*/ 1464991 w 3859699"/>
              <a:gd name="connsiteY345" fmla="*/ 1671179 h 3357396"/>
              <a:gd name="connsiteX346" fmla="*/ 1082612 w 3859699"/>
              <a:gd name="connsiteY346" fmla="*/ 1815318 h 3357396"/>
              <a:gd name="connsiteX347" fmla="*/ 197189 w 3859699"/>
              <a:gd name="connsiteY347" fmla="*/ 2194712 h 3357396"/>
              <a:gd name="connsiteX348" fmla="*/ 193894 w 3859699"/>
              <a:gd name="connsiteY348" fmla="*/ 2205007 h 3357396"/>
              <a:gd name="connsiteX349" fmla="*/ 204190 w 3859699"/>
              <a:gd name="connsiteY349" fmla="*/ 2209537 h 3357396"/>
              <a:gd name="connsiteX350" fmla="*/ 1027016 w 3859699"/>
              <a:gd name="connsiteY350" fmla="*/ 1897683 h 3357396"/>
              <a:gd name="connsiteX351" fmla="*/ 1411557 w 3859699"/>
              <a:gd name="connsiteY351" fmla="*/ 1740263 h 3357396"/>
              <a:gd name="connsiteX352" fmla="*/ 987687 w 3859699"/>
              <a:gd name="connsiteY352" fmla="*/ 1956472 h 3357396"/>
              <a:gd name="connsiteX353" fmla="*/ 450254 w 3859699"/>
              <a:gd name="connsiteY353" fmla="*/ 2242483 h 3357396"/>
              <a:gd name="connsiteX354" fmla="*/ 448146 w 3859699"/>
              <a:gd name="connsiteY354" fmla="*/ 2253790 h 3357396"/>
              <a:gd name="connsiteX355" fmla="*/ 456741 w 3859699"/>
              <a:gd name="connsiteY355" fmla="*/ 2257104 h 3357396"/>
              <a:gd name="connsiteX356" fmla="*/ 932605 w 3859699"/>
              <a:gd name="connsiteY356" fmla="*/ 2025349 h 3357396"/>
              <a:gd name="connsiteX357" fmla="*/ 1600482 w 3859699"/>
              <a:gd name="connsiteY357" fmla="*/ 1713804 h 3357396"/>
              <a:gd name="connsiteX358" fmla="*/ 1695921 w 3859699"/>
              <a:gd name="connsiteY358" fmla="*/ 1723584 h 3357396"/>
              <a:gd name="connsiteX359" fmla="*/ 1929426 w 3859699"/>
              <a:gd name="connsiteY359" fmla="*/ 1782887 h 3357396"/>
              <a:gd name="connsiteX360" fmla="*/ 1961960 w 3859699"/>
              <a:gd name="connsiteY360" fmla="*/ 1860001 h 3357396"/>
              <a:gd name="connsiteX361" fmla="*/ 2053901 w 3859699"/>
              <a:gd name="connsiteY361" fmla="*/ 2064163 h 3357396"/>
              <a:gd name="connsiteX362" fmla="*/ 1902658 w 3859699"/>
              <a:gd name="connsiteY362" fmla="*/ 1994873 h 3357396"/>
              <a:gd name="connsiteX363" fmla="*/ 1691700 w 3859699"/>
              <a:gd name="connsiteY363" fmla="*/ 1913127 h 3357396"/>
              <a:gd name="connsiteX364" fmla="*/ 1682726 w 3859699"/>
              <a:gd name="connsiteY364" fmla="*/ 1920321 h 3357396"/>
              <a:gd name="connsiteX365" fmla="*/ 1685832 w 3859699"/>
              <a:gd name="connsiteY365" fmla="*/ 1927644 h 3357396"/>
              <a:gd name="connsiteX366" fmla="*/ 2036707 w 3859699"/>
              <a:gd name="connsiteY366" fmla="*/ 2094124 h 3357396"/>
              <a:gd name="connsiteX367" fmla="*/ 1211101 w 3859699"/>
              <a:gd name="connsiteY367" fmla="*/ 2345543 h 3357396"/>
              <a:gd name="connsiteX368" fmla="*/ 1211822 w 3859699"/>
              <a:gd name="connsiteY368" fmla="*/ 2355118 h 3357396"/>
              <a:gd name="connsiteX369" fmla="*/ 1221191 w 3859699"/>
              <a:gd name="connsiteY369" fmla="*/ 2357382 h 3357396"/>
              <a:gd name="connsiteX370" fmla="*/ 2035059 w 3859699"/>
              <a:gd name="connsiteY370" fmla="*/ 2144675 h 3357396"/>
              <a:gd name="connsiteX371" fmla="*/ 1368521 w 3859699"/>
              <a:gd name="connsiteY371" fmla="*/ 2622289 h 3357396"/>
              <a:gd name="connsiteX372" fmla="*/ 1366771 w 3859699"/>
              <a:gd name="connsiteY372" fmla="*/ 2630216 h 3357396"/>
              <a:gd name="connsiteX373" fmla="*/ 1372639 w 3859699"/>
              <a:gd name="connsiteY373" fmla="*/ 2635673 h 3357396"/>
              <a:gd name="connsiteX374" fmla="*/ 1693862 w 3859699"/>
              <a:gd name="connsiteY374" fmla="*/ 2410611 h 3357396"/>
              <a:gd name="connsiteX375" fmla="*/ 2110731 w 3859699"/>
              <a:gd name="connsiteY375" fmla="*/ 2164443 h 3357396"/>
              <a:gd name="connsiteX376" fmla="*/ 2110731 w 3859699"/>
              <a:gd name="connsiteY376" fmla="*/ 2169178 h 3357396"/>
              <a:gd name="connsiteX377" fmla="*/ 2056165 w 3859699"/>
              <a:gd name="connsiteY377" fmla="*/ 2194094 h 3357396"/>
              <a:gd name="connsiteX378" fmla="*/ 2006334 w 3859699"/>
              <a:gd name="connsiteY378" fmla="*/ 2223951 h 3357396"/>
              <a:gd name="connsiteX379" fmla="*/ 2009628 w 3859699"/>
              <a:gd name="connsiteY379" fmla="*/ 2238365 h 3357396"/>
              <a:gd name="connsiteX380" fmla="*/ 2035574 w 3859699"/>
              <a:gd name="connsiteY380" fmla="*/ 2238879 h 3357396"/>
              <a:gd name="connsiteX381" fmla="*/ 2070888 w 3859699"/>
              <a:gd name="connsiteY381" fmla="*/ 2232702 h 3357396"/>
              <a:gd name="connsiteX382" fmla="*/ 2076550 w 3859699"/>
              <a:gd name="connsiteY382" fmla="*/ 2246292 h 3357396"/>
              <a:gd name="connsiteX383" fmla="*/ 2149340 w 3859699"/>
              <a:gd name="connsiteY383" fmla="*/ 2213758 h 3357396"/>
              <a:gd name="connsiteX384" fmla="*/ 2163651 w 3859699"/>
              <a:gd name="connsiteY384" fmla="*/ 2203463 h 3357396"/>
              <a:gd name="connsiteX385" fmla="*/ 2187125 w 3859699"/>
              <a:gd name="connsiteY385" fmla="*/ 2207170 h 3357396"/>
              <a:gd name="connsiteX386" fmla="*/ 2188052 w 3859699"/>
              <a:gd name="connsiteY386" fmla="*/ 2186579 h 3357396"/>
              <a:gd name="connsiteX387" fmla="*/ 2188052 w 3859699"/>
              <a:gd name="connsiteY387" fmla="*/ 2153529 h 3357396"/>
              <a:gd name="connsiteX388" fmla="*/ 2263210 w 3859699"/>
              <a:gd name="connsiteY388" fmla="*/ 2138600 h 3357396"/>
              <a:gd name="connsiteX389" fmla="*/ 2216056 w 3859699"/>
              <a:gd name="connsiteY389" fmla="*/ 2173194 h 3357396"/>
              <a:gd name="connsiteX390" fmla="*/ 2220483 w 3859699"/>
              <a:gd name="connsiteY390" fmla="*/ 2186063 h 3357396"/>
              <a:gd name="connsiteX391" fmla="*/ 2274227 w 3859699"/>
              <a:gd name="connsiteY391" fmla="*/ 2184211 h 3357396"/>
              <a:gd name="connsiteX392" fmla="*/ 2260430 w 3859699"/>
              <a:gd name="connsiteY392" fmla="*/ 2209022 h 3357396"/>
              <a:gd name="connsiteX393" fmla="*/ 2340735 w 3859699"/>
              <a:gd name="connsiteY393" fmla="*/ 2173708 h 3357396"/>
              <a:gd name="connsiteX394" fmla="*/ 2537382 w 3859699"/>
              <a:gd name="connsiteY394" fmla="*/ 2068076 h 3357396"/>
              <a:gd name="connsiteX395" fmla="*/ 1780037 w 3859699"/>
              <a:gd name="connsiteY395" fmla="*/ 2626407 h 3357396"/>
              <a:gd name="connsiteX396" fmla="*/ 1780964 w 3859699"/>
              <a:gd name="connsiteY396" fmla="*/ 2636703 h 3357396"/>
              <a:gd name="connsiteX397" fmla="*/ 1791259 w 3859699"/>
              <a:gd name="connsiteY397" fmla="*/ 2637732 h 3357396"/>
              <a:gd name="connsiteX398" fmla="*/ 2055958 w 3859699"/>
              <a:gd name="connsiteY398" fmla="*/ 2441189 h 3357396"/>
              <a:gd name="connsiteX399" fmla="*/ 2614290 w 3859699"/>
              <a:gd name="connsiteY399" fmla="*/ 2080842 h 3357396"/>
              <a:gd name="connsiteX400" fmla="*/ 2123087 w 3859699"/>
              <a:gd name="connsiteY400" fmla="*/ 2544145 h 3357396"/>
              <a:gd name="connsiteX401" fmla="*/ 2031662 w 3859699"/>
              <a:gd name="connsiteY401" fmla="*/ 2615287 h 3357396"/>
              <a:gd name="connsiteX402" fmla="*/ 2029911 w 3859699"/>
              <a:gd name="connsiteY402" fmla="*/ 2623833 h 3357396"/>
              <a:gd name="connsiteX403" fmla="*/ 2037015 w 3859699"/>
              <a:gd name="connsiteY403" fmla="*/ 2628981 h 3357396"/>
              <a:gd name="connsiteX404" fmla="*/ 2038148 w 3859699"/>
              <a:gd name="connsiteY404" fmla="*/ 2628981 h 3357396"/>
              <a:gd name="connsiteX405" fmla="*/ 2041649 w 3859699"/>
              <a:gd name="connsiteY405" fmla="*/ 2631555 h 3357396"/>
              <a:gd name="connsiteX406" fmla="*/ 2048031 w 3859699"/>
              <a:gd name="connsiteY406" fmla="*/ 2631555 h 3357396"/>
              <a:gd name="connsiteX407" fmla="*/ 2362460 w 3859699"/>
              <a:gd name="connsiteY407" fmla="*/ 2418332 h 3357396"/>
              <a:gd name="connsiteX408" fmla="*/ 2426705 w 3859699"/>
              <a:gd name="connsiteY408" fmla="*/ 2364692 h 3357396"/>
              <a:gd name="connsiteX409" fmla="*/ 2277418 w 3859699"/>
              <a:gd name="connsiteY409" fmla="*/ 2678914 h 3357396"/>
              <a:gd name="connsiteX410" fmla="*/ 2280684 w 3859699"/>
              <a:gd name="connsiteY410" fmla="*/ 2689944 h 3357396"/>
              <a:gd name="connsiteX411" fmla="*/ 2289567 w 3859699"/>
              <a:gd name="connsiteY411" fmla="*/ 2689211 h 3357396"/>
              <a:gd name="connsiteX412" fmla="*/ 2307173 w 3859699"/>
              <a:gd name="connsiteY412" fmla="*/ 2674487 h 3357396"/>
              <a:gd name="connsiteX413" fmla="*/ 2149238 w 3859699"/>
              <a:gd name="connsiteY413" fmla="*/ 2867325 h 3357396"/>
              <a:gd name="connsiteX414" fmla="*/ 2150575 w 3859699"/>
              <a:gd name="connsiteY414" fmla="*/ 2877621 h 3357396"/>
              <a:gd name="connsiteX415" fmla="*/ 2173535 w 3859699"/>
              <a:gd name="connsiteY415" fmla="*/ 2886269 h 3357396"/>
              <a:gd name="connsiteX416" fmla="*/ 2245605 w 3859699"/>
              <a:gd name="connsiteY416" fmla="*/ 2820273 h 3357396"/>
              <a:gd name="connsiteX417" fmla="*/ 2224293 w 3859699"/>
              <a:gd name="connsiteY417" fmla="*/ 2887607 h 3357396"/>
              <a:gd name="connsiteX418" fmla="*/ 2117425 w 3859699"/>
              <a:gd name="connsiteY418" fmla="*/ 3348748 h 3357396"/>
              <a:gd name="connsiteX419" fmla="*/ 2123910 w 3859699"/>
              <a:gd name="connsiteY419" fmla="*/ 3357396 h 3357396"/>
              <a:gd name="connsiteX420" fmla="*/ 2126897 w 3859699"/>
              <a:gd name="connsiteY420" fmla="*/ 3357396 h 3357396"/>
              <a:gd name="connsiteX421" fmla="*/ 2134618 w 3859699"/>
              <a:gd name="connsiteY421" fmla="*/ 3351836 h 3357396"/>
              <a:gd name="connsiteX422" fmla="*/ 2193405 w 3859699"/>
              <a:gd name="connsiteY422" fmla="*/ 3161161 h 3357396"/>
              <a:gd name="connsiteX423" fmla="*/ 2554885 w 3859699"/>
              <a:gd name="connsiteY423" fmla="*/ 2464972 h 3357396"/>
              <a:gd name="connsiteX424" fmla="*/ 2688728 w 3859699"/>
              <a:gd name="connsiteY424" fmla="*/ 2265236 h 3357396"/>
              <a:gd name="connsiteX425" fmla="*/ 2691507 w 3859699"/>
              <a:gd name="connsiteY425" fmla="*/ 2259883 h 3357396"/>
              <a:gd name="connsiteX426" fmla="*/ 2591228 w 3859699"/>
              <a:gd name="connsiteY426" fmla="*/ 2523245 h 3357396"/>
              <a:gd name="connsiteX427" fmla="*/ 2584022 w 3859699"/>
              <a:gd name="connsiteY427" fmla="*/ 2532023 h 3357396"/>
              <a:gd name="connsiteX428" fmla="*/ 2588551 w 3859699"/>
              <a:gd name="connsiteY428" fmla="*/ 2538483 h 3357396"/>
              <a:gd name="connsiteX429" fmla="*/ 2601112 w 3859699"/>
              <a:gd name="connsiteY429" fmla="*/ 2538482 h 3357396"/>
              <a:gd name="connsiteX430" fmla="*/ 2612540 w 3859699"/>
              <a:gd name="connsiteY430" fmla="*/ 2529629 h 3357396"/>
              <a:gd name="connsiteX431" fmla="*/ 2437000 w 3859699"/>
              <a:gd name="connsiteY431" fmla="*/ 2812346 h 3357396"/>
              <a:gd name="connsiteX432" fmla="*/ 2267226 w 3859699"/>
              <a:gd name="connsiteY432" fmla="*/ 3100109 h 3357396"/>
              <a:gd name="connsiteX433" fmla="*/ 2271855 w 3859699"/>
              <a:gd name="connsiteY433" fmla="*/ 3110639 h 3357396"/>
              <a:gd name="connsiteX434" fmla="*/ 2281537 w 3859699"/>
              <a:gd name="connsiteY434" fmla="*/ 3107624 h 3357396"/>
              <a:gd name="connsiteX435" fmla="*/ 2340839 w 3859699"/>
              <a:gd name="connsiteY435" fmla="*/ 3024023 h 3357396"/>
              <a:gd name="connsiteX436" fmla="*/ 2756781 w 3859699"/>
              <a:gd name="connsiteY436" fmla="*/ 2176591 h 3357396"/>
              <a:gd name="connsiteX437" fmla="*/ 2756782 w 3859699"/>
              <a:gd name="connsiteY437" fmla="*/ 2174532 h 3357396"/>
              <a:gd name="connsiteX438" fmla="*/ 2759047 w 3859699"/>
              <a:gd name="connsiteY438" fmla="*/ 2132217 h 3357396"/>
              <a:gd name="connsiteX439" fmla="*/ 3492712 w 3859699"/>
              <a:gd name="connsiteY439" fmla="*/ 2296948 h 3357396"/>
              <a:gd name="connsiteX440" fmla="*/ 3844205 w 3859699"/>
              <a:gd name="connsiteY440" fmla="*/ 2387754 h 3357396"/>
              <a:gd name="connsiteX441" fmla="*/ 3845336 w 3859699"/>
              <a:gd name="connsiteY441" fmla="*/ 2302713 h 3357396"/>
              <a:gd name="connsiteX442" fmla="*/ 3841218 w 3859699"/>
              <a:gd name="connsiteY442" fmla="*/ 2298388 h 3357396"/>
              <a:gd name="connsiteX443" fmla="*/ 3492299 w 3859699"/>
              <a:gd name="connsiteY443" fmla="*/ 2224878 h 3357396"/>
              <a:gd name="connsiteX444" fmla="*/ 3181784 w 3859699"/>
              <a:gd name="connsiteY444" fmla="*/ 2090520 h 3357396"/>
              <a:gd name="connsiteX445" fmla="*/ 3227086 w 3859699"/>
              <a:gd name="connsiteY445" fmla="*/ 1968620 h 3357396"/>
              <a:gd name="connsiteX446" fmla="*/ 3542337 w 3859699"/>
              <a:gd name="connsiteY446" fmla="*/ 671372 h 3357396"/>
              <a:gd name="connsiteX447" fmla="*/ 3534596 w 3859699"/>
              <a:gd name="connsiteY447" fmla="*/ 662864 h 3357396"/>
              <a:gd name="connsiteX448" fmla="*/ 3526276 w 3859699"/>
              <a:gd name="connsiteY448" fmla="*/ 669210 h 3357396"/>
              <a:gd name="connsiteX449" fmla="*/ 3469857 w 3859699"/>
              <a:gd name="connsiteY449" fmla="*/ 943073 h 3357396"/>
              <a:gd name="connsiteX450" fmla="*/ 3175710 w 3859699"/>
              <a:gd name="connsiteY450" fmla="*/ 1935469 h 3357396"/>
              <a:gd name="connsiteX451" fmla="*/ 3122379 w 3859699"/>
              <a:gd name="connsiteY451" fmla="*/ 2086196 h 3357396"/>
              <a:gd name="connsiteX452" fmla="*/ 3012422 w 3859699"/>
              <a:gd name="connsiteY452" fmla="*/ 2051911 h 3357396"/>
              <a:gd name="connsiteX453" fmla="*/ 2941692 w 3859699"/>
              <a:gd name="connsiteY453" fmla="*/ 2025966 h 3357396"/>
              <a:gd name="connsiteX454" fmla="*/ 3107348 w 3859699"/>
              <a:gd name="connsiteY454" fmla="*/ 1826849 h 3357396"/>
              <a:gd name="connsiteX455" fmla="*/ 3372357 w 3859699"/>
              <a:gd name="connsiteY455" fmla="*/ 1030483 h 3357396"/>
              <a:gd name="connsiteX456" fmla="*/ 3364120 w 3859699"/>
              <a:gd name="connsiteY456" fmla="*/ 1024820 h 3357396"/>
              <a:gd name="connsiteX457" fmla="*/ 3356604 w 3859699"/>
              <a:gd name="connsiteY457" fmla="*/ 1031307 h 3357396"/>
              <a:gd name="connsiteX458" fmla="*/ 3024365 w 3859699"/>
              <a:gd name="connsiteY458" fmla="*/ 1868958 h 3357396"/>
              <a:gd name="connsiteX459" fmla="*/ 2896390 w 3859699"/>
              <a:gd name="connsiteY459" fmla="*/ 2002184 h 3357396"/>
              <a:gd name="connsiteX460" fmla="*/ 2896906 w 3859699"/>
              <a:gd name="connsiteY460" fmla="*/ 2001257 h 3357396"/>
              <a:gd name="connsiteX461" fmla="*/ 3435366 w 3859699"/>
              <a:gd name="connsiteY461" fmla="*/ 796669 h 3357396"/>
              <a:gd name="connsiteX462" fmla="*/ 3448235 w 3859699"/>
              <a:gd name="connsiteY462" fmla="*/ 741382 h 3357396"/>
              <a:gd name="connsiteX463" fmla="*/ 3467283 w 3859699"/>
              <a:gd name="connsiteY463" fmla="*/ 677549 h 3357396"/>
              <a:gd name="connsiteX464" fmla="*/ 3465326 w 3859699"/>
              <a:gd name="connsiteY464" fmla="*/ 666327 h 3357396"/>
              <a:gd name="connsiteX465" fmla="*/ 3456575 w 3859699"/>
              <a:gd name="connsiteY465" fmla="*/ 659841 h 3357396"/>
              <a:gd name="connsiteX466" fmla="*/ 3445456 w 3859699"/>
              <a:gd name="connsiteY466" fmla="*/ 661076 h 3357396"/>
              <a:gd name="connsiteX467" fmla="*/ 3368033 w 3859699"/>
              <a:gd name="connsiteY467" fmla="*/ 820968 h 3357396"/>
              <a:gd name="connsiteX468" fmla="*/ 3363399 w 3859699"/>
              <a:gd name="connsiteY468" fmla="*/ 834043 h 3357396"/>
              <a:gd name="connsiteX469" fmla="*/ 2859841 w 3859699"/>
              <a:gd name="connsiteY469" fmla="*/ 1951014 h 3357396"/>
              <a:gd name="connsiteX470" fmla="*/ 2857164 w 3859699"/>
              <a:gd name="connsiteY470" fmla="*/ 1943498 h 3357396"/>
              <a:gd name="connsiteX471" fmla="*/ 2862312 w 3859699"/>
              <a:gd name="connsiteY471" fmla="*/ 1940513 h 3357396"/>
              <a:gd name="connsiteX472" fmla="*/ 2970210 w 3859699"/>
              <a:gd name="connsiteY472" fmla="*/ 1694344 h 3357396"/>
              <a:gd name="connsiteX473" fmla="*/ 3097257 w 3859699"/>
              <a:gd name="connsiteY473" fmla="*/ 1436233 h 3357396"/>
              <a:gd name="connsiteX474" fmla="*/ 3099419 w 3859699"/>
              <a:gd name="connsiteY474" fmla="*/ 1428100 h 3357396"/>
              <a:gd name="connsiteX475" fmla="*/ 3093242 w 3859699"/>
              <a:gd name="connsiteY475" fmla="*/ 1422437 h 3357396"/>
              <a:gd name="connsiteX476" fmla="*/ 3063694 w 3859699"/>
              <a:gd name="connsiteY476" fmla="*/ 1427174 h 3357396"/>
              <a:gd name="connsiteX477" fmla="*/ 3047633 w 3859699"/>
              <a:gd name="connsiteY477" fmla="*/ 1452501 h 3357396"/>
              <a:gd name="connsiteX478" fmla="*/ 3041558 w 3859699"/>
              <a:gd name="connsiteY478" fmla="*/ 1455384 h 3357396"/>
              <a:gd name="connsiteX479" fmla="*/ 3041558 w 3859699"/>
              <a:gd name="connsiteY479" fmla="*/ 1452191 h 3357396"/>
              <a:gd name="connsiteX480" fmla="*/ 3028895 w 3859699"/>
              <a:gd name="connsiteY480" fmla="*/ 1432527 h 3357396"/>
              <a:gd name="connsiteX481" fmla="*/ 3017615 w 3859699"/>
              <a:gd name="connsiteY481" fmla="*/ 1434775 h 3357396"/>
              <a:gd name="connsiteX482" fmla="*/ 3016746 w 3859699"/>
              <a:gd name="connsiteY482" fmla="*/ 1442102 h 3357396"/>
              <a:gd name="connsiteX483" fmla="*/ 3000170 w 3859699"/>
              <a:gd name="connsiteY483" fmla="*/ 1482461 h 3357396"/>
              <a:gd name="connsiteX484" fmla="*/ 2990390 w 3859699"/>
              <a:gd name="connsiteY484" fmla="*/ 1494404 h 3357396"/>
              <a:gd name="connsiteX485" fmla="*/ 3003259 w 3859699"/>
              <a:gd name="connsiteY485" fmla="*/ 1454045 h 3357396"/>
              <a:gd name="connsiteX486" fmla="*/ 3046912 w 3859699"/>
              <a:gd name="connsiteY486" fmla="*/ 1323188 h 3357396"/>
              <a:gd name="connsiteX487" fmla="*/ 3049795 w 3859699"/>
              <a:gd name="connsiteY487" fmla="*/ 1317010 h 3357396"/>
              <a:gd name="connsiteX488" fmla="*/ 3093654 w 3859699"/>
              <a:gd name="connsiteY488" fmla="*/ 1223114 h 3357396"/>
              <a:gd name="connsiteX489" fmla="*/ 3228732 w 3859699"/>
              <a:gd name="connsiteY489" fmla="*/ 917231 h 3357396"/>
              <a:gd name="connsiteX490" fmla="*/ 3228732 w 3859699"/>
              <a:gd name="connsiteY490" fmla="*/ 913628 h 3357396"/>
              <a:gd name="connsiteX491" fmla="*/ 3217511 w 3859699"/>
              <a:gd name="connsiteY491" fmla="*/ 899317 h 3357396"/>
              <a:gd name="connsiteX492" fmla="*/ 3127630 w 3859699"/>
              <a:gd name="connsiteY492" fmla="*/ 1053752 h 3357396"/>
              <a:gd name="connsiteX493" fmla="*/ 3045780 w 3859699"/>
              <a:gd name="connsiteY493" fmla="*/ 1218481 h 3357396"/>
              <a:gd name="connsiteX494" fmla="*/ 3044648 w 3859699"/>
              <a:gd name="connsiteY494" fmla="*/ 1221055 h 3357396"/>
              <a:gd name="connsiteX495" fmla="*/ 2962797 w 3859699"/>
              <a:gd name="connsiteY495" fmla="*/ 1362518 h 3357396"/>
              <a:gd name="connsiteX496" fmla="*/ 3138647 w 3859699"/>
              <a:gd name="connsiteY496" fmla="*/ 592920 h 3357396"/>
              <a:gd name="connsiteX497" fmla="*/ 3131851 w 3859699"/>
              <a:gd name="connsiteY497" fmla="*/ 584477 h 3357396"/>
              <a:gd name="connsiteX498" fmla="*/ 3122688 w 3859699"/>
              <a:gd name="connsiteY498" fmla="*/ 590139 h 3357396"/>
              <a:gd name="connsiteX499" fmla="*/ 3064312 w 3859699"/>
              <a:gd name="connsiteY499" fmla="*/ 888713 h 3357396"/>
              <a:gd name="connsiteX500" fmla="*/ 2900096 w 3859699"/>
              <a:gd name="connsiteY500" fmla="*/ 1408642 h 3357396"/>
              <a:gd name="connsiteX501" fmla="*/ 3000170 w 3859699"/>
              <a:gd name="connsiteY501" fmla="*/ 578814 h 3357396"/>
              <a:gd name="connsiteX502" fmla="*/ 3000170 w 3859699"/>
              <a:gd name="connsiteY502" fmla="*/ 576035 h 3357396"/>
              <a:gd name="connsiteX503" fmla="*/ 2987198 w 3859699"/>
              <a:gd name="connsiteY503" fmla="*/ 563062 h 3357396"/>
              <a:gd name="connsiteX504" fmla="*/ 2948794 w 3859699"/>
              <a:gd name="connsiteY504" fmla="*/ 812010 h 3357396"/>
              <a:gd name="connsiteX505" fmla="*/ 2877961 w 3859699"/>
              <a:gd name="connsiteY505" fmla="*/ 1278092 h 3357396"/>
              <a:gd name="connsiteX506" fmla="*/ 2831528 w 3859699"/>
              <a:gd name="connsiteY506" fmla="*/ 1118923 h 3357396"/>
              <a:gd name="connsiteX507" fmla="*/ 2827615 w 3859699"/>
              <a:gd name="connsiteY507" fmla="*/ 1113364 h 3357396"/>
              <a:gd name="connsiteX508" fmla="*/ 2821438 w 3859699"/>
              <a:gd name="connsiteY508" fmla="*/ 1042528 h 3357396"/>
              <a:gd name="connsiteX509" fmla="*/ 2789934 w 3859699"/>
              <a:gd name="connsiteY509" fmla="*/ 918981 h 3357396"/>
              <a:gd name="connsiteX510" fmla="*/ 2782726 w 3859699"/>
              <a:gd name="connsiteY510" fmla="*/ 918981 h 3357396"/>
              <a:gd name="connsiteX511" fmla="*/ 2767798 w 3859699"/>
              <a:gd name="connsiteY511" fmla="*/ 923511 h 3357396"/>
              <a:gd name="connsiteX512" fmla="*/ 2767798 w 3859699"/>
              <a:gd name="connsiteY512" fmla="*/ 879343 h 3357396"/>
              <a:gd name="connsiteX513" fmla="*/ 2768622 w 3859699"/>
              <a:gd name="connsiteY513" fmla="*/ 827248 h 3357396"/>
              <a:gd name="connsiteX514" fmla="*/ 2760179 w 3859699"/>
              <a:gd name="connsiteY514" fmla="*/ 821276 h 3357396"/>
              <a:gd name="connsiteX515" fmla="*/ 2732381 w 3859699"/>
              <a:gd name="connsiteY515" fmla="*/ 789256 h 3357396"/>
              <a:gd name="connsiteX516" fmla="*/ 2727439 w 3859699"/>
              <a:gd name="connsiteY516" fmla="*/ 782771 h 3357396"/>
              <a:gd name="connsiteX517" fmla="*/ 2719409 w 3859699"/>
              <a:gd name="connsiteY517" fmla="*/ 783800 h 3357396"/>
              <a:gd name="connsiteX518" fmla="*/ 2690170 w 3859699"/>
              <a:gd name="connsiteY518" fmla="*/ 968606 h 3357396"/>
              <a:gd name="connsiteX519" fmla="*/ 2694700 w 3859699"/>
              <a:gd name="connsiteY519" fmla="*/ 971592 h 3357396"/>
              <a:gd name="connsiteX520" fmla="*/ 2704995 w 3859699"/>
              <a:gd name="connsiteY520" fmla="*/ 972210 h 3357396"/>
              <a:gd name="connsiteX521" fmla="*/ 2677299 w 3859699"/>
              <a:gd name="connsiteY521" fmla="*/ 1084226 h 3357396"/>
              <a:gd name="connsiteX522" fmla="*/ 2658252 w 3859699"/>
              <a:gd name="connsiteY522" fmla="*/ 972107 h 3357396"/>
              <a:gd name="connsiteX523" fmla="*/ 2652899 w 3859699"/>
              <a:gd name="connsiteY523" fmla="*/ 882328 h 3357396"/>
              <a:gd name="connsiteX524" fmla="*/ 2657326 w 3859699"/>
              <a:gd name="connsiteY524" fmla="*/ 877181 h 3357396"/>
              <a:gd name="connsiteX525" fmla="*/ 2654855 w 3859699"/>
              <a:gd name="connsiteY525" fmla="*/ 843205 h 3357396"/>
              <a:gd name="connsiteX526" fmla="*/ 2651251 w 3859699"/>
              <a:gd name="connsiteY526" fmla="*/ 829513 h 3357396"/>
              <a:gd name="connsiteX527" fmla="*/ 2651252 w 3859699"/>
              <a:gd name="connsiteY527" fmla="*/ 824261 h 3357396"/>
              <a:gd name="connsiteX528" fmla="*/ 2643736 w 3859699"/>
              <a:gd name="connsiteY528" fmla="*/ 815922 h 3357396"/>
              <a:gd name="connsiteX529" fmla="*/ 2638588 w 3859699"/>
              <a:gd name="connsiteY529" fmla="*/ 815923 h 3357396"/>
              <a:gd name="connsiteX530" fmla="*/ 2609864 w 3859699"/>
              <a:gd name="connsiteY530" fmla="*/ 831983 h 3357396"/>
              <a:gd name="connsiteX531" fmla="*/ 2625616 w 3859699"/>
              <a:gd name="connsiteY531" fmla="*/ 876358 h 3357396"/>
              <a:gd name="connsiteX532" fmla="*/ 2625616 w 3859699"/>
              <a:gd name="connsiteY532" fmla="*/ 914863 h 3357396"/>
              <a:gd name="connsiteX533" fmla="*/ 2624586 w 3859699"/>
              <a:gd name="connsiteY533" fmla="*/ 966341 h 3357396"/>
              <a:gd name="connsiteX534" fmla="*/ 2611099 w 3859699"/>
              <a:gd name="connsiteY534" fmla="*/ 1028115 h 3357396"/>
              <a:gd name="connsiteX535" fmla="*/ 2581962 w 3859699"/>
              <a:gd name="connsiteY535" fmla="*/ 1072901 h 3357396"/>
              <a:gd name="connsiteX536" fmla="*/ 2576712 w 3859699"/>
              <a:gd name="connsiteY536" fmla="*/ 1076917 h 3357396"/>
              <a:gd name="connsiteX537" fmla="*/ 2554164 w 3859699"/>
              <a:gd name="connsiteY537" fmla="*/ 1204068 h 3357396"/>
              <a:gd name="connsiteX538" fmla="*/ 2534705 w 3859699"/>
              <a:gd name="connsiteY538" fmla="*/ 1315981 h 3357396"/>
              <a:gd name="connsiteX539" fmla="*/ 2370696 w 3859699"/>
              <a:gd name="connsiteY539" fmla="*/ 520747 h 3357396"/>
              <a:gd name="connsiteX540" fmla="*/ 2363900 w 3859699"/>
              <a:gd name="connsiteY540" fmla="*/ 513540 h 3357396"/>
              <a:gd name="connsiteX541" fmla="*/ 2350619 w 3859699"/>
              <a:gd name="connsiteY541" fmla="*/ 517864 h 3357396"/>
              <a:gd name="connsiteX542" fmla="*/ 2382330 w 3859699"/>
              <a:gd name="connsiteY542" fmla="*/ 849177 h 3357396"/>
              <a:gd name="connsiteX543" fmla="*/ 2423512 w 3859699"/>
              <a:gd name="connsiteY543" fmla="*/ 1145382 h 3357396"/>
              <a:gd name="connsiteX544" fmla="*/ 2375535 w 3859699"/>
              <a:gd name="connsiteY544" fmla="*/ 1069092 h 3357396"/>
              <a:gd name="connsiteX545" fmla="*/ 2355973 w 3859699"/>
              <a:gd name="connsiteY545" fmla="*/ 1025232 h 3357396"/>
              <a:gd name="connsiteX546" fmla="*/ 2319116 w 3859699"/>
              <a:gd name="connsiteY546" fmla="*/ 965106 h 3357396"/>
              <a:gd name="connsiteX547" fmla="*/ 2263210 w 3859699"/>
              <a:gd name="connsiteY547" fmla="*/ 733043 h 3357396"/>
              <a:gd name="connsiteX548" fmla="*/ 2241280 w 3859699"/>
              <a:gd name="connsiteY548" fmla="*/ 605789 h 3357396"/>
              <a:gd name="connsiteX549" fmla="*/ 2236235 w 3859699"/>
              <a:gd name="connsiteY549" fmla="*/ 599921 h 3357396"/>
              <a:gd name="connsiteX550" fmla="*/ 2228514 w 3859699"/>
              <a:gd name="connsiteY550" fmla="*/ 600950 h 3357396"/>
              <a:gd name="connsiteX551" fmla="*/ 2234485 w 3859699"/>
              <a:gd name="connsiteY551" fmla="*/ 767430 h 3357396"/>
              <a:gd name="connsiteX552" fmla="*/ 2247766 w 3859699"/>
              <a:gd name="connsiteY552" fmla="*/ 827351 h 3357396"/>
              <a:gd name="connsiteX553" fmla="*/ 2208335 w 3859699"/>
              <a:gd name="connsiteY553" fmla="*/ 734690 h 3357396"/>
              <a:gd name="connsiteX554" fmla="*/ 2124631 w 3859699"/>
              <a:gd name="connsiteY554" fmla="*/ 571710 h 3357396"/>
              <a:gd name="connsiteX555" fmla="*/ 2114335 w 3859699"/>
              <a:gd name="connsiteY555" fmla="*/ 570577 h 3357396"/>
              <a:gd name="connsiteX556" fmla="*/ 2110938 w 3859699"/>
              <a:gd name="connsiteY556" fmla="*/ 580049 h 3357396"/>
              <a:gd name="connsiteX557" fmla="*/ 2437412 w 3859699"/>
              <a:gd name="connsiteY557" fmla="*/ 1329365 h 3357396"/>
              <a:gd name="connsiteX558" fmla="*/ 2543046 w 3859699"/>
              <a:gd name="connsiteY558" fmla="*/ 1546911 h 3357396"/>
              <a:gd name="connsiteX559" fmla="*/ 2371417 w 3859699"/>
              <a:gd name="connsiteY559" fmla="*/ 1295698 h 3357396"/>
              <a:gd name="connsiteX560" fmla="*/ 2280198 w 3859699"/>
              <a:gd name="connsiteY560" fmla="*/ 1172151 h 3357396"/>
              <a:gd name="connsiteX561" fmla="*/ 2269903 w 3859699"/>
              <a:gd name="connsiteY561" fmla="*/ 1190683 h 3357396"/>
              <a:gd name="connsiteX562" fmla="*/ 2270520 w 3859699"/>
              <a:gd name="connsiteY562" fmla="*/ 1194080 h 3357396"/>
              <a:gd name="connsiteX563" fmla="*/ 2354223 w 3859699"/>
              <a:gd name="connsiteY563" fmla="*/ 1355515 h 3357396"/>
              <a:gd name="connsiteX564" fmla="*/ 2396641 w 3859699"/>
              <a:gd name="connsiteY564" fmla="*/ 1431498 h 3357396"/>
              <a:gd name="connsiteX565" fmla="*/ 2224498 w 3859699"/>
              <a:gd name="connsiteY565" fmla="*/ 1229806 h 3357396"/>
              <a:gd name="connsiteX566" fmla="*/ 2148723 w 3859699"/>
              <a:gd name="connsiteY566" fmla="*/ 1122527 h 3357396"/>
              <a:gd name="connsiteX567" fmla="*/ 2142031 w 3859699"/>
              <a:gd name="connsiteY567" fmla="*/ 1119541 h 3357396"/>
              <a:gd name="connsiteX568" fmla="*/ 2135751 w 3859699"/>
              <a:gd name="connsiteY568" fmla="*/ 1123041 h 3357396"/>
              <a:gd name="connsiteX569" fmla="*/ 2214512 w 3859699"/>
              <a:gd name="connsiteY569" fmla="*/ 1294153 h 3357396"/>
              <a:gd name="connsiteX570" fmla="*/ 2093436 w 3859699"/>
              <a:gd name="connsiteY570" fmla="*/ 1162164 h 3357396"/>
              <a:gd name="connsiteX571" fmla="*/ 1972256 w 3859699"/>
              <a:gd name="connsiteY571" fmla="*/ 987139 h 3357396"/>
              <a:gd name="connsiteX572" fmla="*/ 1965359 w 3859699"/>
              <a:gd name="connsiteY572" fmla="*/ 980859 h 3357396"/>
              <a:gd name="connsiteX573" fmla="*/ 1957122 w 3859699"/>
              <a:gd name="connsiteY573" fmla="*/ 985080 h 3357396"/>
              <a:gd name="connsiteX574" fmla="*/ 2129985 w 3859699"/>
              <a:gd name="connsiteY574" fmla="*/ 1257707 h 3357396"/>
              <a:gd name="connsiteX575" fmla="*/ 2261254 w 3859699"/>
              <a:gd name="connsiteY575" fmla="*/ 1428100 h 3357396"/>
              <a:gd name="connsiteX576" fmla="*/ 2254974 w 3859699"/>
              <a:gd name="connsiteY576" fmla="*/ 1435616 h 3357396"/>
              <a:gd name="connsiteX577" fmla="*/ 2023528 w 3859699"/>
              <a:gd name="connsiteY577" fmla="*/ 1246588 h 3357396"/>
              <a:gd name="connsiteX578" fmla="*/ 1858799 w 3859699"/>
              <a:gd name="connsiteY578" fmla="*/ 1105126 h 3357396"/>
              <a:gd name="connsiteX579" fmla="*/ 1848502 w 3859699"/>
              <a:gd name="connsiteY579" fmla="*/ 1105744 h 3357396"/>
              <a:gd name="connsiteX580" fmla="*/ 1846444 w 3859699"/>
              <a:gd name="connsiteY580" fmla="*/ 1115421 h 3357396"/>
              <a:gd name="connsiteX581" fmla="*/ 2055239 w 3859699"/>
              <a:gd name="connsiteY581" fmla="*/ 1314334 h 3357396"/>
              <a:gd name="connsiteX582" fmla="*/ 2219350 w 3859699"/>
              <a:gd name="connsiteY582" fmla="*/ 1461046 h 3357396"/>
              <a:gd name="connsiteX583" fmla="*/ 2204216 w 3859699"/>
              <a:gd name="connsiteY583" fmla="*/ 1607861 h 3357396"/>
              <a:gd name="connsiteX584" fmla="*/ 2196700 w 3859699"/>
              <a:gd name="connsiteY584" fmla="*/ 1646161 h 3357396"/>
              <a:gd name="connsiteX585" fmla="*/ 2195671 w 3859699"/>
              <a:gd name="connsiteY585" fmla="*/ 1694653 h 3357396"/>
              <a:gd name="connsiteX586" fmla="*/ 2193405 w 3859699"/>
              <a:gd name="connsiteY586" fmla="*/ 1778769 h 3357396"/>
              <a:gd name="connsiteX587" fmla="*/ 1978330 w 3859699"/>
              <a:gd name="connsiteY587" fmla="*/ 1739440 h 3357396"/>
              <a:gd name="connsiteX588" fmla="*/ 1942398 w 3859699"/>
              <a:gd name="connsiteY588" fmla="*/ 1613112 h 3357396"/>
              <a:gd name="connsiteX589" fmla="*/ 1938281 w 3859699"/>
              <a:gd name="connsiteY589" fmla="*/ 1606008 h 3357396"/>
              <a:gd name="connsiteX590" fmla="*/ 1930147 w 3859699"/>
              <a:gd name="connsiteY590" fmla="*/ 1606008 h 3357396"/>
              <a:gd name="connsiteX591" fmla="*/ 1906982 w 3859699"/>
              <a:gd name="connsiteY591" fmla="*/ 1678078 h 3357396"/>
              <a:gd name="connsiteX592" fmla="*/ 1801864 w 3859699"/>
              <a:gd name="connsiteY592" fmla="*/ 1623820 h 3357396"/>
              <a:gd name="connsiteX593" fmla="*/ 1792289 w 3859699"/>
              <a:gd name="connsiteY593" fmla="*/ 1629071 h 3357396"/>
              <a:gd name="connsiteX594" fmla="*/ 1915836 w 3859699"/>
              <a:gd name="connsiteY594" fmla="*/ 1702375 h 3357396"/>
              <a:gd name="connsiteX595" fmla="*/ 1915836 w 3859699"/>
              <a:gd name="connsiteY595" fmla="*/ 1707935 h 3357396"/>
              <a:gd name="connsiteX596" fmla="*/ 1841296 w 3859699"/>
              <a:gd name="connsiteY596" fmla="*/ 1679519 h 3357396"/>
              <a:gd name="connsiteX597" fmla="*/ 1878669 w 3859699"/>
              <a:gd name="connsiteY597" fmla="*/ 1712259 h 3357396"/>
              <a:gd name="connsiteX598" fmla="*/ 1832647 w 3859699"/>
              <a:gd name="connsiteY598" fmla="*/ 1696403 h 3357396"/>
              <a:gd name="connsiteX599" fmla="*/ 1796716 w 3859699"/>
              <a:gd name="connsiteY599" fmla="*/ 1697845 h 3357396"/>
              <a:gd name="connsiteX600" fmla="*/ 1739267 w 3859699"/>
              <a:gd name="connsiteY600" fmla="*/ 1690741 h 3357396"/>
              <a:gd name="connsiteX601" fmla="*/ 1681919 w 3859699"/>
              <a:gd name="connsiteY601" fmla="*/ 1690740 h 3357396"/>
              <a:gd name="connsiteX602" fmla="*/ 1666786 w 3859699"/>
              <a:gd name="connsiteY602" fmla="*/ 1654604 h 3357396"/>
              <a:gd name="connsiteX603" fmla="*/ 1665858 w 3859699"/>
              <a:gd name="connsiteY603" fmla="*/ 1653368 h 3357396"/>
              <a:gd name="connsiteX604" fmla="*/ 1677698 w 3859699"/>
              <a:gd name="connsiteY604" fmla="*/ 1617952 h 3357396"/>
              <a:gd name="connsiteX605" fmla="*/ 1633942 w 3859699"/>
              <a:gd name="connsiteY605" fmla="*/ 1576769 h 3357396"/>
              <a:gd name="connsiteX606" fmla="*/ 1630029 w 3859699"/>
              <a:gd name="connsiteY606" fmla="*/ 1573165 h 3357396"/>
              <a:gd name="connsiteX607" fmla="*/ 1655151 w 3859699"/>
              <a:gd name="connsiteY607" fmla="*/ 1583461 h 3357396"/>
              <a:gd name="connsiteX608" fmla="*/ 1686037 w 3859699"/>
              <a:gd name="connsiteY608" fmla="*/ 1627526 h 3357396"/>
              <a:gd name="connsiteX609" fmla="*/ 1690053 w 3859699"/>
              <a:gd name="connsiteY609" fmla="*/ 1633601 h 3357396"/>
              <a:gd name="connsiteX610" fmla="*/ 1697363 w 3859699"/>
              <a:gd name="connsiteY610" fmla="*/ 1633601 h 3357396"/>
              <a:gd name="connsiteX611" fmla="*/ 1720631 w 3859699"/>
              <a:gd name="connsiteY611" fmla="*/ 1636174 h 3357396"/>
              <a:gd name="connsiteX612" fmla="*/ 1751518 w 3859699"/>
              <a:gd name="connsiteY612" fmla="*/ 1673856 h 3357396"/>
              <a:gd name="connsiteX613" fmla="*/ 1760372 w 3859699"/>
              <a:gd name="connsiteY613" fmla="*/ 1680239 h 3357396"/>
              <a:gd name="connsiteX614" fmla="*/ 1767579 w 3859699"/>
              <a:gd name="connsiteY614" fmla="*/ 1672209 h 3357396"/>
              <a:gd name="connsiteX615" fmla="*/ 1828528 w 3859699"/>
              <a:gd name="connsiteY615" fmla="*/ 254193 h 3357396"/>
              <a:gd name="connsiteX616" fmla="*/ 1828529 w 3859699"/>
              <a:gd name="connsiteY616" fmla="*/ 250178 h 3357396"/>
              <a:gd name="connsiteX617" fmla="*/ 1818234 w 3859699"/>
              <a:gd name="connsiteY617" fmla="*/ 243383 h 3357396"/>
              <a:gd name="connsiteX618" fmla="*/ 1720116 w 3859699"/>
              <a:gd name="connsiteY618" fmla="*/ 823644 h 3357396"/>
              <a:gd name="connsiteX619" fmla="*/ 1666682 w 3859699"/>
              <a:gd name="connsiteY619" fmla="*/ 1199434 h 3357396"/>
              <a:gd name="connsiteX620" fmla="*/ 1692318 w 3859699"/>
              <a:gd name="connsiteY620" fmla="*/ 659532 h 3357396"/>
              <a:gd name="connsiteX621" fmla="*/ 1705085 w 3859699"/>
              <a:gd name="connsiteY621" fmla="*/ 36647 h 3357396"/>
              <a:gd name="connsiteX622" fmla="*/ 1695307 w 3859699"/>
              <a:gd name="connsiteY622" fmla="*/ 30589 h 3357396"/>
              <a:gd name="connsiteX623" fmla="*/ 1689127 w 3859699"/>
              <a:gd name="connsiteY623" fmla="*/ 39735 h 3357396"/>
              <a:gd name="connsiteX624" fmla="*/ 1657519 w 3859699"/>
              <a:gd name="connsiteY624" fmla="*/ 463915 h 3357396"/>
              <a:gd name="connsiteX625" fmla="*/ 1626632 w 3859699"/>
              <a:gd name="connsiteY625" fmla="*/ 811496 h 3357396"/>
              <a:gd name="connsiteX626" fmla="*/ 1632192 w 3859699"/>
              <a:gd name="connsiteY626" fmla="*/ 819114 h 3357396"/>
              <a:gd name="connsiteX627" fmla="*/ 1635486 w 3859699"/>
              <a:gd name="connsiteY627" fmla="*/ 819114 h 3357396"/>
              <a:gd name="connsiteX628" fmla="*/ 1630133 w 3859699"/>
              <a:gd name="connsiteY628" fmla="*/ 844957 h 3357396"/>
              <a:gd name="connsiteX629" fmla="*/ 1622823 w 3859699"/>
              <a:gd name="connsiteY629" fmla="*/ 469475 h 3357396"/>
              <a:gd name="connsiteX630" fmla="*/ 1607071 w 3859699"/>
              <a:gd name="connsiteY630" fmla="*/ 55179 h 3357396"/>
              <a:gd name="connsiteX631" fmla="*/ 1598525 w 3859699"/>
              <a:gd name="connsiteY631" fmla="*/ 49311 h 3357396"/>
              <a:gd name="connsiteX632" fmla="*/ 1591113 w 3859699"/>
              <a:gd name="connsiteY632" fmla="*/ 56620 h 3357396"/>
              <a:gd name="connsiteX633" fmla="*/ 1581331 w 3859699"/>
              <a:gd name="connsiteY633" fmla="*/ 331102 h 3357396"/>
              <a:gd name="connsiteX634" fmla="*/ 1578552 w 3859699"/>
              <a:gd name="connsiteY634" fmla="*/ 503142 h 3357396"/>
              <a:gd name="connsiteX635" fmla="*/ 1574433 w 3859699"/>
              <a:gd name="connsiteY635" fmla="*/ 255120 h 3357396"/>
              <a:gd name="connsiteX636" fmla="*/ 1569388 w 3859699"/>
              <a:gd name="connsiteY636" fmla="*/ 7305 h 3357396"/>
              <a:gd name="connsiteX637" fmla="*/ 1560468 w 3859699"/>
              <a:gd name="connsiteY637" fmla="*/ 42 h 3357396"/>
              <a:gd name="connsiteX638" fmla="*/ 1553430 w 3859699"/>
              <a:gd name="connsiteY638" fmla="*/ 6070 h 3357396"/>
              <a:gd name="connsiteX639" fmla="*/ 1510806 w 3859699"/>
              <a:gd name="connsiteY639" fmla="*/ 604554 h 3357396"/>
              <a:gd name="connsiteX640" fmla="*/ 1467977 w 3859699"/>
              <a:gd name="connsiteY640" fmla="*/ 275094 h 3357396"/>
              <a:gd name="connsiteX641" fmla="*/ 1459431 w 3859699"/>
              <a:gd name="connsiteY641" fmla="*/ 268607 h 3357396"/>
              <a:gd name="connsiteX642" fmla="*/ 1451916 w 3859699"/>
              <a:gd name="connsiteY642" fmla="*/ 276329 h 3357396"/>
              <a:gd name="connsiteX643" fmla="*/ 1471272 w 3859699"/>
              <a:gd name="connsiteY643" fmla="*/ 814379 h 3357396"/>
              <a:gd name="connsiteX644" fmla="*/ 1483420 w 3859699"/>
              <a:gd name="connsiteY644" fmla="*/ 898699 h 3357396"/>
              <a:gd name="connsiteX645" fmla="*/ 1474875 w 3859699"/>
              <a:gd name="connsiteY645" fmla="*/ 896949 h 3357396"/>
              <a:gd name="connsiteX646" fmla="*/ 1469624 w 3859699"/>
              <a:gd name="connsiteY646" fmla="*/ 904876 h 3357396"/>
              <a:gd name="connsiteX647" fmla="*/ 1475801 w 3859699"/>
              <a:gd name="connsiteY647" fmla="*/ 1056016 h 3357396"/>
              <a:gd name="connsiteX648" fmla="*/ 1534486 w 3859699"/>
              <a:gd name="connsiteY648" fmla="*/ 1466709 h 3357396"/>
              <a:gd name="connsiteX649" fmla="*/ 1375110 w 3859699"/>
              <a:gd name="connsiteY649" fmla="*/ 1231556 h 3357396"/>
              <a:gd name="connsiteX650" fmla="*/ 1069124 w 3859699"/>
              <a:gd name="connsiteY650" fmla="*/ 524762 h 3357396"/>
              <a:gd name="connsiteX651" fmla="*/ 1057902 w 3859699"/>
              <a:gd name="connsiteY651" fmla="*/ 529499 h 3357396"/>
              <a:gd name="connsiteX652" fmla="*/ 1263815 w 3859699"/>
              <a:gd name="connsiteY652" fmla="*/ 1103376 h 3357396"/>
              <a:gd name="connsiteX653" fmla="*/ 925398 w 3859699"/>
              <a:gd name="connsiteY653" fmla="*/ 342015 h 3357396"/>
              <a:gd name="connsiteX654" fmla="*/ 916853 w 3859699"/>
              <a:gd name="connsiteY654" fmla="*/ 335735 h 3357396"/>
              <a:gd name="connsiteX655" fmla="*/ 895541 w 3859699"/>
              <a:gd name="connsiteY655" fmla="*/ 350251 h 3357396"/>
              <a:gd name="connsiteX656" fmla="*/ 1062329 w 3859699"/>
              <a:gd name="connsiteY656" fmla="*/ 825498 h 3357396"/>
              <a:gd name="connsiteX657" fmla="*/ 1373669 w 3859699"/>
              <a:gd name="connsiteY657" fmla="*/ 1396183 h 3357396"/>
              <a:gd name="connsiteX658" fmla="*/ 511925 w 3859699"/>
              <a:gd name="connsiteY658" fmla="*/ 327807 h 3357396"/>
              <a:gd name="connsiteX659" fmla="*/ 500738 w 3859699"/>
              <a:gd name="connsiteY659" fmla="*/ 325133 h 3357396"/>
              <a:gd name="connsiteX660" fmla="*/ 497204 w 3859699"/>
              <a:gd name="connsiteY660" fmla="*/ 334396 h 3357396"/>
              <a:gd name="connsiteX661" fmla="*/ 1125236 w 3859699"/>
              <a:gd name="connsiteY661" fmla="*/ 1205406 h 3357396"/>
              <a:gd name="connsiteX662" fmla="*/ 1265462 w 3859699"/>
              <a:gd name="connsiteY662" fmla="*/ 1352118 h 3357396"/>
              <a:gd name="connsiteX663" fmla="*/ 296026 w 3859699"/>
              <a:gd name="connsiteY663" fmla="*/ 244207 h 3357396"/>
              <a:gd name="connsiteX664" fmla="*/ 243622 w 3859699"/>
              <a:gd name="connsiteY664" fmla="*/ 168740 h 3357396"/>
              <a:gd name="connsiteX665" fmla="*/ 233327 w 3859699"/>
              <a:gd name="connsiteY665" fmla="*/ 166165 h 3357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Lst>
            <a:rect l="l" t="t" r="r" b="b"/>
            <a:pathLst>
              <a:path w="3859699" h="3357396">
                <a:moveTo>
                  <a:pt x="2669063" y="2093712"/>
                </a:moveTo>
                <a:cubicBezTo>
                  <a:pt x="2686571" y="2096503"/>
                  <a:pt x="2703658" y="2101484"/>
                  <a:pt x="2719923" y="2108537"/>
                </a:cubicBezTo>
                <a:cubicBezTo>
                  <a:pt x="2707362" y="2117763"/>
                  <a:pt x="2694302" y="2126287"/>
                  <a:pt x="2680800" y="2134071"/>
                </a:cubicBezTo>
                <a:lnTo>
                  <a:pt x="2681005" y="2134071"/>
                </a:lnTo>
                <a:cubicBezTo>
                  <a:pt x="2679618" y="2134895"/>
                  <a:pt x="2678507" y="2136114"/>
                  <a:pt x="2677815" y="2137571"/>
                </a:cubicBezTo>
                <a:cubicBezTo>
                  <a:pt x="2565901" y="2370561"/>
                  <a:pt x="2508451" y="2432026"/>
                  <a:pt x="2466445" y="2477326"/>
                </a:cubicBezTo>
                <a:cubicBezTo>
                  <a:pt x="2457385" y="2487004"/>
                  <a:pt x="2448840" y="2496167"/>
                  <a:pt x="2440500" y="2506155"/>
                </a:cubicBezTo>
                <a:cubicBezTo>
                  <a:pt x="2434941" y="2511095"/>
                  <a:pt x="2422998" y="2523657"/>
                  <a:pt x="2392831" y="2555470"/>
                </a:cubicBezTo>
                <a:lnTo>
                  <a:pt x="2363284" y="2586356"/>
                </a:lnTo>
                <a:cubicBezTo>
                  <a:pt x="2385934" y="2547234"/>
                  <a:pt x="2423203" y="2480724"/>
                  <a:pt x="2459753" y="2414318"/>
                </a:cubicBezTo>
                <a:cubicBezTo>
                  <a:pt x="2515040" y="2313832"/>
                  <a:pt x="2533058" y="2280475"/>
                  <a:pt x="2536867" y="2267296"/>
                </a:cubicBezTo>
                <a:cubicBezTo>
                  <a:pt x="2563122" y="2216745"/>
                  <a:pt x="2633029" y="2125217"/>
                  <a:pt x="2669063" y="2093712"/>
                </a:cubicBezTo>
                <a:close/>
                <a:moveTo>
                  <a:pt x="2772328" y="1912818"/>
                </a:moveTo>
                <a:lnTo>
                  <a:pt x="2772530" y="1912892"/>
                </a:lnTo>
                <a:lnTo>
                  <a:pt x="2772534" y="1912818"/>
                </a:lnTo>
                <a:close/>
                <a:moveTo>
                  <a:pt x="2245215" y="1880963"/>
                </a:moveTo>
                <a:cubicBezTo>
                  <a:pt x="2253069" y="1877903"/>
                  <a:pt x="2263158" y="1875342"/>
                  <a:pt x="2276388" y="1873797"/>
                </a:cubicBezTo>
                <a:cubicBezTo>
                  <a:pt x="2345781" y="1875650"/>
                  <a:pt x="2363181" y="1909729"/>
                  <a:pt x="2393347" y="1926202"/>
                </a:cubicBezTo>
                <a:cubicBezTo>
                  <a:pt x="2421951" y="1940258"/>
                  <a:pt x="2452122" y="1950868"/>
                  <a:pt x="2483227" y="1957809"/>
                </a:cubicBezTo>
                <a:cubicBezTo>
                  <a:pt x="2542632" y="1974488"/>
                  <a:pt x="2562504" y="1990446"/>
                  <a:pt x="2601318" y="2019583"/>
                </a:cubicBezTo>
                <a:cubicBezTo>
                  <a:pt x="2593803" y="2022261"/>
                  <a:pt x="2532029" y="2031629"/>
                  <a:pt x="2524410" y="2034203"/>
                </a:cubicBezTo>
                <a:lnTo>
                  <a:pt x="2524410" y="2034099"/>
                </a:lnTo>
                <a:lnTo>
                  <a:pt x="2520086" y="2035644"/>
                </a:lnTo>
                <a:cubicBezTo>
                  <a:pt x="2410643" y="2073018"/>
                  <a:pt x="2259504" y="2115538"/>
                  <a:pt x="2152738" y="2108846"/>
                </a:cubicBezTo>
                <a:cubicBezTo>
                  <a:pt x="2153458" y="2103493"/>
                  <a:pt x="2154488" y="2097109"/>
                  <a:pt x="2155724" y="2089696"/>
                </a:cubicBezTo>
                <a:cubicBezTo>
                  <a:pt x="2156145" y="2088251"/>
                  <a:pt x="2156420" y="2086769"/>
                  <a:pt x="2156548" y="2085270"/>
                </a:cubicBezTo>
                <a:cubicBezTo>
                  <a:pt x="2167565" y="2025246"/>
                  <a:pt x="2194436" y="1916318"/>
                  <a:pt x="2210496" y="1907979"/>
                </a:cubicBezTo>
                <a:cubicBezTo>
                  <a:pt x="2218219" y="1903808"/>
                  <a:pt x="2221654" y="1890141"/>
                  <a:pt x="2245215" y="1880963"/>
                </a:cubicBezTo>
                <a:close/>
                <a:moveTo>
                  <a:pt x="2934484" y="1597669"/>
                </a:moveTo>
                <a:lnTo>
                  <a:pt x="2934690" y="1597669"/>
                </a:lnTo>
                <a:cubicBezTo>
                  <a:pt x="2932940" y="1624643"/>
                  <a:pt x="2916364" y="1685593"/>
                  <a:pt x="2894640" y="1741808"/>
                </a:cubicBezTo>
                <a:cubicBezTo>
                  <a:pt x="2885786" y="1754573"/>
                  <a:pt x="2858606" y="1827570"/>
                  <a:pt x="2847487" y="1880284"/>
                </a:cubicBezTo>
                <a:cubicBezTo>
                  <a:pt x="2845530" y="1768988"/>
                  <a:pt x="2910186" y="1641631"/>
                  <a:pt x="2934484" y="1597669"/>
                </a:cubicBezTo>
                <a:close/>
                <a:moveTo>
                  <a:pt x="1963298" y="1789167"/>
                </a:moveTo>
                <a:cubicBezTo>
                  <a:pt x="2042987" y="1806360"/>
                  <a:pt x="2104658" y="1817789"/>
                  <a:pt x="2158914" y="1835395"/>
                </a:cubicBezTo>
                <a:cubicBezTo>
                  <a:pt x="2178786" y="1832924"/>
                  <a:pt x="2187949" y="1849191"/>
                  <a:pt x="2170961" y="1901596"/>
                </a:cubicBezTo>
                <a:lnTo>
                  <a:pt x="2147487" y="2055515"/>
                </a:lnTo>
                <a:cubicBezTo>
                  <a:pt x="2152429" y="2112449"/>
                  <a:pt x="2142339" y="2079195"/>
                  <a:pt x="2136059" y="2082592"/>
                </a:cubicBezTo>
                <a:lnTo>
                  <a:pt x="2136059" y="2082489"/>
                </a:lnTo>
                <a:cubicBezTo>
                  <a:pt x="2128337" y="2086711"/>
                  <a:pt x="2109909" y="2109979"/>
                  <a:pt x="2101466" y="2103081"/>
                </a:cubicBezTo>
                <a:cubicBezTo>
                  <a:pt x="2065225" y="2007023"/>
                  <a:pt x="1978536" y="1857119"/>
                  <a:pt x="1963298" y="1789167"/>
                </a:cubicBezTo>
                <a:close/>
                <a:moveTo>
                  <a:pt x="2803936" y="1468253"/>
                </a:moveTo>
                <a:cubicBezTo>
                  <a:pt x="2803832" y="1469385"/>
                  <a:pt x="2803832" y="1470724"/>
                  <a:pt x="2803833" y="1471753"/>
                </a:cubicBezTo>
                <a:lnTo>
                  <a:pt x="2805377" y="1469694"/>
                </a:lnTo>
                <a:close/>
                <a:moveTo>
                  <a:pt x="2801053" y="1431703"/>
                </a:moveTo>
                <a:cubicBezTo>
                  <a:pt x="2802906" y="1459707"/>
                  <a:pt x="2811349" y="1467224"/>
                  <a:pt x="2818041" y="1465370"/>
                </a:cubicBezTo>
                <a:cubicBezTo>
                  <a:pt x="2801156" y="1493477"/>
                  <a:pt x="2788184" y="1495330"/>
                  <a:pt x="2801053" y="1431703"/>
                </a:cubicBezTo>
                <a:close/>
                <a:moveTo>
                  <a:pt x="3002126" y="1352736"/>
                </a:moveTo>
                <a:cubicBezTo>
                  <a:pt x="3005421" y="1512420"/>
                  <a:pt x="2780564" y="1684255"/>
                  <a:pt x="2821644" y="1933718"/>
                </a:cubicBezTo>
                <a:cubicBezTo>
                  <a:pt x="2821373" y="2112990"/>
                  <a:pt x="2790678" y="1942276"/>
                  <a:pt x="2777006" y="1914522"/>
                </a:cubicBezTo>
                <a:lnTo>
                  <a:pt x="2772530" y="1912892"/>
                </a:lnTo>
                <a:lnTo>
                  <a:pt x="2771823" y="1925735"/>
                </a:lnTo>
                <a:cubicBezTo>
                  <a:pt x="2775291" y="1961371"/>
                  <a:pt x="2807295" y="2025039"/>
                  <a:pt x="2713335" y="1897477"/>
                </a:cubicBezTo>
                <a:cubicBezTo>
                  <a:pt x="2637662" y="1826540"/>
                  <a:pt x="2394170" y="1614657"/>
                  <a:pt x="2393347" y="1575224"/>
                </a:cubicBezTo>
                <a:cubicBezTo>
                  <a:pt x="2393346" y="1558340"/>
                  <a:pt x="2468093" y="1609611"/>
                  <a:pt x="2550149" y="1660060"/>
                </a:cubicBezTo>
                <a:lnTo>
                  <a:pt x="2548295" y="1657487"/>
                </a:lnTo>
                <a:cubicBezTo>
                  <a:pt x="2645486" y="1715759"/>
                  <a:pt x="2809702" y="2061692"/>
                  <a:pt x="2734337" y="1748705"/>
                </a:cubicBezTo>
                <a:cubicBezTo>
                  <a:pt x="2783654" y="1709068"/>
                  <a:pt x="2695626" y="1744484"/>
                  <a:pt x="2700568" y="1686932"/>
                </a:cubicBezTo>
                <a:cubicBezTo>
                  <a:pt x="2673181" y="1677769"/>
                  <a:pt x="2633028" y="1691874"/>
                  <a:pt x="2555194" y="1586755"/>
                </a:cubicBezTo>
                <a:cubicBezTo>
                  <a:pt x="2581035" y="1590462"/>
                  <a:pt x="2704892" y="1734703"/>
                  <a:pt x="2683476" y="1653676"/>
                </a:cubicBezTo>
                <a:cubicBezTo>
                  <a:pt x="2698920" y="1674268"/>
                  <a:pt x="2708290" y="1706391"/>
                  <a:pt x="2746075" y="1691359"/>
                </a:cubicBezTo>
                <a:cubicBezTo>
                  <a:pt x="2705510" y="1629585"/>
                  <a:pt x="2681521" y="1608273"/>
                  <a:pt x="2681315" y="1518804"/>
                </a:cubicBezTo>
                <a:cubicBezTo>
                  <a:pt x="2690478" y="1502434"/>
                  <a:pt x="2706230" y="1476077"/>
                  <a:pt x="2706230" y="1476077"/>
                </a:cubicBezTo>
                <a:cubicBezTo>
                  <a:pt x="2706662" y="1476475"/>
                  <a:pt x="2707042" y="1476924"/>
                  <a:pt x="2707362" y="1477416"/>
                </a:cubicBezTo>
                <a:cubicBezTo>
                  <a:pt x="2780667" y="1377857"/>
                  <a:pt x="2777477" y="1552162"/>
                  <a:pt x="2786640" y="1636895"/>
                </a:cubicBezTo>
                <a:cubicBezTo>
                  <a:pt x="2810216" y="1586550"/>
                  <a:pt x="2909363" y="1485138"/>
                  <a:pt x="2807230" y="1544235"/>
                </a:cubicBezTo>
                <a:cubicBezTo>
                  <a:pt x="2896082" y="1455074"/>
                  <a:pt x="2854900" y="1578828"/>
                  <a:pt x="2794875" y="1632263"/>
                </a:cubicBezTo>
                <a:cubicBezTo>
                  <a:pt x="2772122" y="1659443"/>
                  <a:pt x="2763989" y="1668708"/>
                  <a:pt x="2756164" y="1691771"/>
                </a:cubicBezTo>
                <a:cubicBezTo>
                  <a:pt x="2771252" y="1683318"/>
                  <a:pt x="2785461" y="1673385"/>
                  <a:pt x="2798582" y="1662119"/>
                </a:cubicBezTo>
                <a:cubicBezTo>
                  <a:pt x="2803936" y="1709891"/>
                  <a:pt x="2849339" y="1638543"/>
                  <a:pt x="2865298" y="1627733"/>
                </a:cubicBezTo>
                <a:cubicBezTo>
                  <a:pt x="2846148" y="1570797"/>
                  <a:pt x="2968253" y="1394434"/>
                  <a:pt x="3002126" y="1352736"/>
                </a:cubicBezTo>
                <a:close/>
                <a:moveTo>
                  <a:pt x="1695510" y="1723996"/>
                </a:moveTo>
                <a:cubicBezTo>
                  <a:pt x="1609129" y="1823349"/>
                  <a:pt x="1164256" y="2129232"/>
                  <a:pt x="1075096" y="2194506"/>
                </a:cubicBezTo>
                <a:cubicBezTo>
                  <a:pt x="982436" y="2262251"/>
                  <a:pt x="886892" y="2332262"/>
                  <a:pt x="797115" y="2390123"/>
                </a:cubicBezTo>
                <a:lnTo>
                  <a:pt x="802673" y="2399697"/>
                </a:lnTo>
                <a:cubicBezTo>
                  <a:pt x="982023" y="2307860"/>
                  <a:pt x="1633531" y="1853103"/>
                  <a:pt x="1710232" y="1728629"/>
                </a:cubicBezTo>
                <a:cubicBezTo>
                  <a:pt x="1705084" y="1728629"/>
                  <a:pt x="1700761" y="1724201"/>
                  <a:pt x="1695510" y="1723996"/>
                </a:cubicBezTo>
                <a:close/>
                <a:moveTo>
                  <a:pt x="2541294" y="1460737"/>
                </a:moveTo>
                <a:cubicBezTo>
                  <a:pt x="2585462" y="1462384"/>
                  <a:pt x="2636940" y="1511598"/>
                  <a:pt x="2655267" y="1557516"/>
                </a:cubicBezTo>
                <a:cubicBezTo>
                  <a:pt x="2659591" y="1568326"/>
                  <a:pt x="2664739" y="1586344"/>
                  <a:pt x="2658047" y="1599213"/>
                </a:cubicBezTo>
                <a:cubicBezTo>
                  <a:pt x="2652946" y="1590876"/>
                  <a:pt x="2646631" y="1583346"/>
                  <a:pt x="2639309" y="1576872"/>
                </a:cubicBezTo>
                <a:cubicBezTo>
                  <a:pt x="2638382" y="1576254"/>
                  <a:pt x="2622528" y="1574194"/>
                  <a:pt x="2622528" y="1574194"/>
                </a:cubicBezTo>
                <a:cubicBezTo>
                  <a:pt x="2616906" y="1562654"/>
                  <a:pt x="2607645" y="1553284"/>
                  <a:pt x="2596171" y="1547529"/>
                </a:cubicBezTo>
                <a:lnTo>
                  <a:pt x="2582992" y="1539498"/>
                </a:lnTo>
                <a:lnTo>
                  <a:pt x="2588140" y="1554016"/>
                </a:lnTo>
                <a:cubicBezTo>
                  <a:pt x="2592463" y="1566370"/>
                  <a:pt x="2624483" y="1583152"/>
                  <a:pt x="2624483" y="1583152"/>
                </a:cubicBezTo>
                <a:cubicBezTo>
                  <a:pt x="2619156" y="1586628"/>
                  <a:pt x="2612468" y="1587282"/>
                  <a:pt x="2606569" y="1584903"/>
                </a:cubicBezTo>
                <a:cubicBezTo>
                  <a:pt x="2576197" y="1573680"/>
                  <a:pt x="2546339" y="1499551"/>
                  <a:pt x="2541294" y="1460840"/>
                </a:cubicBezTo>
                <a:close/>
                <a:moveTo>
                  <a:pt x="2263004" y="1472885"/>
                </a:moveTo>
                <a:cubicBezTo>
                  <a:pt x="2272373" y="1472062"/>
                  <a:pt x="2307069" y="1486992"/>
                  <a:pt x="2408173" y="1662017"/>
                </a:cubicBezTo>
                <a:lnTo>
                  <a:pt x="2410437" y="1664487"/>
                </a:lnTo>
                <a:cubicBezTo>
                  <a:pt x="2459444" y="1705052"/>
                  <a:pt x="2507525" y="1764869"/>
                  <a:pt x="2558488" y="1828085"/>
                </a:cubicBezTo>
                <a:cubicBezTo>
                  <a:pt x="2596951" y="1877631"/>
                  <a:pt x="2637948" y="1925158"/>
                  <a:pt x="2681315" y="1970473"/>
                </a:cubicBezTo>
                <a:cubicBezTo>
                  <a:pt x="2586697" y="1934541"/>
                  <a:pt x="2460988" y="1915906"/>
                  <a:pt x="2384287" y="1873900"/>
                </a:cubicBezTo>
                <a:cubicBezTo>
                  <a:pt x="2380683" y="1871841"/>
                  <a:pt x="2312217" y="1830042"/>
                  <a:pt x="2293891" y="1830041"/>
                </a:cubicBezTo>
                <a:cubicBezTo>
                  <a:pt x="2291170" y="1829987"/>
                  <a:pt x="2288450" y="1830159"/>
                  <a:pt x="2285757" y="1830556"/>
                </a:cubicBezTo>
                <a:cubicBezTo>
                  <a:pt x="2285414" y="1825289"/>
                  <a:pt x="2284233" y="1820110"/>
                  <a:pt x="2282257" y="1815216"/>
                </a:cubicBezTo>
                <a:cubicBezTo>
                  <a:pt x="2281323" y="1812738"/>
                  <a:pt x="2279254" y="1810860"/>
                  <a:pt x="2276698" y="1810171"/>
                </a:cubicBezTo>
                <a:cubicBezTo>
                  <a:pt x="2265269" y="1807288"/>
                  <a:pt x="2256106" y="1805228"/>
                  <a:pt x="2248075" y="1803478"/>
                </a:cubicBezTo>
                <a:cubicBezTo>
                  <a:pt x="2223057" y="1798021"/>
                  <a:pt x="2223057" y="1797301"/>
                  <a:pt x="2223468" y="1792565"/>
                </a:cubicBezTo>
                <a:cubicBezTo>
                  <a:pt x="2223881" y="1787829"/>
                  <a:pt x="2225837" y="1742322"/>
                  <a:pt x="2227278" y="1707009"/>
                </a:cubicBezTo>
                <a:cubicBezTo>
                  <a:pt x="2228307" y="1683843"/>
                  <a:pt x="2229131" y="1664487"/>
                  <a:pt x="2229131" y="1663664"/>
                </a:cubicBezTo>
                <a:cubicBezTo>
                  <a:pt x="2229852" y="1660472"/>
                  <a:pt x="2230470" y="1655118"/>
                  <a:pt x="2231603" y="1645851"/>
                </a:cubicBezTo>
                <a:cubicBezTo>
                  <a:pt x="2247973" y="1510671"/>
                  <a:pt x="2258166" y="1479064"/>
                  <a:pt x="2263004" y="1472885"/>
                </a:cubicBezTo>
                <a:close/>
                <a:moveTo>
                  <a:pt x="2654441" y="1313317"/>
                </a:moveTo>
                <a:cubicBezTo>
                  <a:pt x="2668769" y="1302146"/>
                  <a:pt x="2685780" y="1333419"/>
                  <a:pt x="2723424" y="1392683"/>
                </a:cubicBezTo>
                <a:cubicBezTo>
                  <a:pt x="2723633" y="1404583"/>
                  <a:pt x="2720026" y="1416237"/>
                  <a:pt x="2713128" y="1425937"/>
                </a:cubicBezTo>
                <a:cubicBezTo>
                  <a:pt x="2710952" y="1432938"/>
                  <a:pt x="2704598" y="1437807"/>
                  <a:pt x="2697274" y="1438087"/>
                </a:cubicBezTo>
                <a:cubicBezTo>
                  <a:pt x="2689346" y="1439939"/>
                  <a:pt x="2681314" y="1435513"/>
                  <a:pt x="2675446" y="1420276"/>
                </a:cubicBezTo>
                <a:cubicBezTo>
                  <a:pt x="2676991" y="1425218"/>
                  <a:pt x="2671933" y="1444580"/>
                  <a:pt x="2676387" y="1450651"/>
                </a:cubicBezTo>
                <a:lnTo>
                  <a:pt x="2684546" y="1451260"/>
                </a:lnTo>
                <a:lnTo>
                  <a:pt x="2684610" y="1451162"/>
                </a:lnTo>
                <a:lnTo>
                  <a:pt x="2684609" y="1451265"/>
                </a:lnTo>
                <a:lnTo>
                  <a:pt x="2684546" y="1451260"/>
                </a:lnTo>
                <a:lnTo>
                  <a:pt x="2667146" y="1477957"/>
                </a:lnTo>
                <a:cubicBezTo>
                  <a:pt x="2664765" y="1488149"/>
                  <a:pt x="2666901" y="1499706"/>
                  <a:pt x="2676784" y="1512936"/>
                </a:cubicBezTo>
                <a:cubicBezTo>
                  <a:pt x="2629116" y="1500169"/>
                  <a:pt x="2620776" y="1452089"/>
                  <a:pt x="2620262" y="1411833"/>
                </a:cubicBezTo>
                <a:cubicBezTo>
                  <a:pt x="2621909" y="1404935"/>
                  <a:pt x="2627675" y="1382387"/>
                  <a:pt x="2627675" y="1382387"/>
                </a:cubicBezTo>
                <a:cubicBezTo>
                  <a:pt x="2638215" y="1342003"/>
                  <a:pt x="2645846" y="1320020"/>
                  <a:pt x="2654441" y="1313317"/>
                </a:cubicBezTo>
                <a:close/>
                <a:moveTo>
                  <a:pt x="2300789" y="1402361"/>
                </a:moveTo>
                <a:cubicBezTo>
                  <a:pt x="2361534" y="1434689"/>
                  <a:pt x="2418468" y="1491418"/>
                  <a:pt x="2473550" y="1546396"/>
                </a:cubicBezTo>
                <a:lnTo>
                  <a:pt x="2473550" y="1546294"/>
                </a:lnTo>
                <a:cubicBezTo>
                  <a:pt x="2514285" y="1589082"/>
                  <a:pt x="2558163" y="1628761"/>
                  <a:pt x="2604819" y="1665002"/>
                </a:cubicBezTo>
                <a:cubicBezTo>
                  <a:pt x="2599671" y="1666340"/>
                  <a:pt x="2530175" y="1628864"/>
                  <a:pt x="2528528" y="1629276"/>
                </a:cubicBezTo>
                <a:cubicBezTo>
                  <a:pt x="2510099" y="1604259"/>
                  <a:pt x="2476535" y="1580269"/>
                  <a:pt x="2441118" y="1554942"/>
                </a:cubicBezTo>
                <a:cubicBezTo>
                  <a:pt x="2382640" y="1513039"/>
                  <a:pt x="2316747" y="1465886"/>
                  <a:pt x="2300789" y="1402361"/>
                </a:cubicBezTo>
                <a:close/>
                <a:moveTo>
                  <a:pt x="2768313" y="1246074"/>
                </a:moveTo>
                <a:cubicBezTo>
                  <a:pt x="2801568" y="1276961"/>
                  <a:pt x="2761827" y="1343058"/>
                  <a:pt x="2753281" y="1365709"/>
                </a:cubicBezTo>
                <a:cubicBezTo>
                  <a:pt x="2799199" y="1338322"/>
                  <a:pt x="2832145" y="1268620"/>
                  <a:pt x="2838117" y="1288388"/>
                </a:cubicBezTo>
                <a:cubicBezTo>
                  <a:pt x="2876829" y="1308979"/>
                  <a:pt x="2850266" y="1402361"/>
                  <a:pt x="2825144" y="1452398"/>
                </a:cubicBezTo>
                <a:cubicBezTo>
                  <a:pt x="2824311" y="1445293"/>
                  <a:pt x="2819985" y="1439075"/>
                  <a:pt x="2813613" y="1435822"/>
                </a:cubicBezTo>
                <a:cubicBezTo>
                  <a:pt x="2789111" y="1421099"/>
                  <a:pt x="2837087" y="1373328"/>
                  <a:pt x="2812584" y="1342338"/>
                </a:cubicBezTo>
                <a:cubicBezTo>
                  <a:pt x="2788492" y="1393816"/>
                  <a:pt x="2776549" y="1477313"/>
                  <a:pt x="2729086" y="1381461"/>
                </a:cubicBezTo>
                <a:cubicBezTo>
                  <a:pt x="2725380" y="1374459"/>
                  <a:pt x="2660414" y="1241132"/>
                  <a:pt x="2697067" y="1302905"/>
                </a:cubicBezTo>
                <a:cubicBezTo>
                  <a:pt x="2728367" y="1310215"/>
                  <a:pt x="2727748" y="1388770"/>
                  <a:pt x="2739896" y="1383520"/>
                </a:cubicBezTo>
                <a:lnTo>
                  <a:pt x="2739896" y="1383417"/>
                </a:lnTo>
                <a:cubicBezTo>
                  <a:pt x="2753756" y="1374970"/>
                  <a:pt x="2758328" y="1356999"/>
                  <a:pt x="2750192" y="1342955"/>
                </a:cubicBezTo>
                <a:cubicBezTo>
                  <a:pt x="2778093" y="1318864"/>
                  <a:pt x="2757399" y="1274593"/>
                  <a:pt x="2768313" y="1246074"/>
                </a:cubicBezTo>
                <a:close/>
                <a:moveTo>
                  <a:pt x="2575991" y="1285402"/>
                </a:moveTo>
                <a:cubicBezTo>
                  <a:pt x="2618614" y="1306921"/>
                  <a:pt x="2612642" y="1323909"/>
                  <a:pt x="2604304" y="1347176"/>
                </a:cubicBezTo>
                <a:cubicBezTo>
                  <a:pt x="2598126" y="1364884"/>
                  <a:pt x="2600597" y="1430674"/>
                  <a:pt x="2601937" y="1448794"/>
                </a:cubicBezTo>
                <a:cubicBezTo>
                  <a:pt x="2601937" y="1451883"/>
                  <a:pt x="2602451" y="1455590"/>
                  <a:pt x="2602657" y="1458266"/>
                </a:cubicBezTo>
                <a:lnTo>
                  <a:pt x="2600906" y="1457133"/>
                </a:lnTo>
                <a:cubicBezTo>
                  <a:pt x="2595450" y="1452089"/>
                  <a:pt x="2594832" y="1436542"/>
                  <a:pt x="2594317" y="1423466"/>
                </a:cubicBezTo>
                <a:cubicBezTo>
                  <a:pt x="2595276" y="1411387"/>
                  <a:pt x="2593002" y="1399270"/>
                  <a:pt x="2587728" y="1388358"/>
                </a:cubicBezTo>
                <a:lnTo>
                  <a:pt x="2585257" y="1384961"/>
                </a:lnTo>
                <a:lnTo>
                  <a:pt x="2581346" y="1386506"/>
                </a:lnTo>
                <a:cubicBezTo>
                  <a:pt x="2564460" y="1392889"/>
                  <a:pt x="2566828" y="1407097"/>
                  <a:pt x="2568373" y="1416672"/>
                </a:cubicBezTo>
                <a:cubicBezTo>
                  <a:pt x="2569917" y="1426246"/>
                  <a:pt x="2570945" y="1432424"/>
                  <a:pt x="2558077" y="1434586"/>
                </a:cubicBezTo>
                <a:lnTo>
                  <a:pt x="2554782" y="1436440"/>
                </a:lnTo>
                <a:cubicBezTo>
                  <a:pt x="2553546" y="1435513"/>
                  <a:pt x="2544487" y="1423879"/>
                  <a:pt x="2544487" y="1423879"/>
                </a:cubicBezTo>
                <a:cubicBezTo>
                  <a:pt x="2544487" y="1423879"/>
                  <a:pt x="2556944" y="1432424"/>
                  <a:pt x="2557768" y="1432116"/>
                </a:cubicBezTo>
                <a:lnTo>
                  <a:pt x="2557768" y="1432012"/>
                </a:lnTo>
                <a:cubicBezTo>
                  <a:pt x="2564356" y="1429747"/>
                  <a:pt x="2563430" y="1423879"/>
                  <a:pt x="2557767" y="1390830"/>
                </a:cubicBezTo>
                <a:cubicBezTo>
                  <a:pt x="2557174" y="1379740"/>
                  <a:pt x="2557450" y="1368621"/>
                  <a:pt x="2558591" y="1357574"/>
                </a:cubicBezTo>
                <a:cubicBezTo>
                  <a:pt x="2563430" y="1341205"/>
                  <a:pt x="2569608" y="1320819"/>
                  <a:pt x="2562607" y="1308362"/>
                </a:cubicBezTo>
                <a:cubicBezTo>
                  <a:pt x="2560959" y="1305479"/>
                  <a:pt x="2571770" y="1292198"/>
                  <a:pt x="2573932" y="1288388"/>
                </a:cubicBezTo>
                <a:cubicBezTo>
                  <a:pt x="2574552" y="1287349"/>
                  <a:pt x="2575240" y="1286352"/>
                  <a:pt x="2575991" y="1285402"/>
                </a:cubicBezTo>
                <a:close/>
                <a:moveTo>
                  <a:pt x="2241795" y="1342749"/>
                </a:moveTo>
                <a:cubicBezTo>
                  <a:pt x="2287405" y="1413377"/>
                  <a:pt x="2332809" y="1491829"/>
                  <a:pt x="2375638" y="1566782"/>
                </a:cubicBezTo>
                <a:cubicBezTo>
                  <a:pt x="2321276" y="1498414"/>
                  <a:pt x="2276267" y="1423108"/>
                  <a:pt x="2241795" y="1342852"/>
                </a:cubicBezTo>
                <a:close/>
                <a:moveTo>
                  <a:pt x="2805776" y="1148029"/>
                </a:moveTo>
                <a:cubicBezTo>
                  <a:pt x="2807314" y="1147647"/>
                  <a:pt x="2807926" y="1147956"/>
                  <a:pt x="2807952" y="1147956"/>
                </a:cubicBezTo>
                <a:lnTo>
                  <a:pt x="2807952" y="1147853"/>
                </a:lnTo>
                <a:cubicBezTo>
                  <a:pt x="2838838" y="1169782"/>
                  <a:pt x="2746795" y="1270371"/>
                  <a:pt x="2757709" y="1197067"/>
                </a:cubicBezTo>
                <a:cubicBezTo>
                  <a:pt x="2788208" y="1156528"/>
                  <a:pt x="2801163" y="1149172"/>
                  <a:pt x="2805776" y="1148029"/>
                </a:cubicBezTo>
                <a:close/>
                <a:moveTo>
                  <a:pt x="1665749" y="1414840"/>
                </a:moveTo>
                <a:cubicBezTo>
                  <a:pt x="1670517" y="1413011"/>
                  <a:pt x="1669204" y="1480634"/>
                  <a:pt x="1669976" y="1494919"/>
                </a:cubicBezTo>
                <a:cubicBezTo>
                  <a:pt x="1670366" y="1512182"/>
                  <a:pt x="1673853" y="1529234"/>
                  <a:pt x="1680272" y="1545264"/>
                </a:cubicBezTo>
                <a:cubicBezTo>
                  <a:pt x="1668433" y="1552472"/>
                  <a:pt x="1654224" y="1557928"/>
                  <a:pt x="1645988" y="1549074"/>
                </a:cubicBezTo>
                <a:cubicBezTo>
                  <a:pt x="1630338" y="1532909"/>
                  <a:pt x="1645576" y="1527041"/>
                  <a:pt x="1658652" y="1444471"/>
                </a:cubicBezTo>
                <a:lnTo>
                  <a:pt x="1658652" y="1444367"/>
                </a:lnTo>
                <a:cubicBezTo>
                  <a:pt x="1661895" y="1423776"/>
                  <a:pt x="1664160" y="1415449"/>
                  <a:pt x="1665749" y="1414840"/>
                </a:cubicBezTo>
                <a:close/>
                <a:moveTo>
                  <a:pt x="2598950" y="1100802"/>
                </a:moveTo>
                <a:cubicBezTo>
                  <a:pt x="2609245" y="1106053"/>
                  <a:pt x="2616144" y="1123453"/>
                  <a:pt x="2624071" y="1146103"/>
                </a:cubicBezTo>
                <a:cubicBezTo>
                  <a:pt x="2626749" y="1153927"/>
                  <a:pt x="2629425" y="1161547"/>
                  <a:pt x="2632823" y="1169165"/>
                </a:cubicBezTo>
                <a:cubicBezTo>
                  <a:pt x="2639309" y="1180078"/>
                  <a:pt x="2648780" y="1193463"/>
                  <a:pt x="2655988" y="1194903"/>
                </a:cubicBezTo>
                <a:cubicBezTo>
                  <a:pt x="2659371" y="1196175"/>
                  <a:pt x="2663145" y="1195873"/>
                  <a:pt x="2666284" y="1194080"/>
                </a:cubicBezTo>
                <a:cubicBezTo>
                  <a:pt x="2676579" y="1188418"/>
                  <a:pt x="2683683" y="1166694"/>
                  <a:pt x="2687492" y="1151148"/>
                </a:cubicBezTo>
                <a:cubicBezTo>
                  <a:pt x="2715291" y="1176269"/>
                  <a:pt x="2719718" y="1207774"/>
                  <a:pt x="2716835" y="1245455"/>
                </a:cubicBezTo>
                <a:cubicBezTo>
                  <a:pt x="2714539" y="1241125"/>
                  <a:pt x="2711887" y="1236993"/>
                  <a:pt x="2708907" y="1233101"/>
                </a:cubicBezTo>
                <a:cubicBezTo>
                  <a:pt x="2706203" y="1229514"/>
                  <a:pt x="2701103" y="1228800"/>
                  <a:pt x="2697517" y="1231504"/>
                </a:cubicBezTo>
                <a:cubicBezTo>
                  <a:pt x="2695378" y="1233117"/>
                  <a:pt x="2694171" y="1235677"/>
                  <a:pt x="2694287" y="1238352"/>
                </a:cubicBezTo>
                <a:cubicBezTo>
                  <a:pt x="2695373" y="1245412"/>
                  <a:pt x="2692234" y="1252457"/>
                  <a:pt x="2686256" y="1256370"/>
                </a:cubicBezTo>
                <a:cubicBezTo>
                  <a:pt x="2680541" y="1258908"/>
                  <a:pt x="2673880" y="1257991"/>
                  <a:pt x="2669063" y="1254001"/>
                </a:cubicBezTo>
                <a:cubicBezTo>
                  <a:pt x="2665472" y="1251303"/>
                  <a:pt x="2660372" y="1252027"/>
                  <a:pt x="2657674" y="1255618"/>
                </a:cubicBezTo>
                <a:cubicBezTo>
                  <a:pt x="2655979" y="1257874"/>
                  <a:pt x="2655575" y="1260847"/>
                  <a:pt x="2656605" y="1263473"/>
                </a:cubicBezTo>
                <a:cubicBezTo>
                  <a:pt x="2657119" y="1264811"/>
                  <a:pt x="2657429" y="1265738"/>
                  <a:pt x="2657635" y="1266459"/>
                </a:cubicBezTo>
                <a:cubicBezTo>
                  <a:pt x="2656741" y="1267026"/>
                  <a:pt x="2655997" y="1267803"/>
                  <a:pt x="2655473" y="1268724"/>
                </a:cubicBezTo>
                <a:cubicBezTo>
                  <a:pt x="2640132" y="1292198"/>
                  <a:pt x="2631484" y="1294669"/>
                  <a:pt x="2629322" y="1293536"/>
                </a:cubicBezTo>
                <a:cubicBezTo>
                  <a:pt x="2619748" y="1288697"/>
                  <a:pt x="2616041" y="1242675"/>
                  <a:pt x="2628704" y="1210142"/>
                </a:cubicBezTo>
                <a:cubicBezTo>
                  <a:pt x="2630164" y="1206107"/>
                  <a:pt x="2628283" y="1201628"/>
                  <a:pt x="2624381" y="1199846"/>
                </a:cubicBezTo>
                <a:cubicBezTo>
                  <a:pt x="2623336" y="1199403"/>
                  <a:pt x="2622218" y="1199157"/>
                  <a:pt x="2621085" y="1199126"/>
                </a:cubicBezTo>
                <a:cubicBezTo>
                  <a:pt x="2618044" y="1199138"/>
                  <a:pt x="2615264" y="1200846"/>
                  <a:pt x="2613878" y="1203552"/>
                </a:cubicBezTo>
                <a:cubicBezTo>
                  <a:pt x="2609636" y="1210946"/>
                  <a:pt x="2604596" y="1217850"/>
                  <a:pt x="2598847" y="1224143"/>
                </a:cubicBezTo>
                <a:cubicBezTo>
                  <a:pt x="2597303" y="1225997"/>
                  <a:pt x="2595758" y="1227747"/>
                  <a:pt x="2594419" y="1229497"/>
                </a:cubicBezTo>
                <a:cubicBezTo>
                  <a:pt x="2581654" y="1210553"/>
                  <a:pt x="2587007" y="1183784"/>
                  <a:pt x="2592670" y="1155780"/>
                </a:cubicBezTo>
                <a:lnTo>
                  <a:pt x="2592670" y="1155678"/>
                </a:lnTo>
                <a:cubicBezTo>
                  <a:pt x="2597154" y="1137739"/>
                  <a:pt x="2599264" y="1119290"/>
                  <a:pt x="2598950" y="1100802"/>
                </a:cubicBezTo>
                <a:close/>
                <a:moveTo>
                  <a:pt x="2393346" y="1158355"/>
                </a:moveTo>
                <a:cubicBezTo>
                  <a:pt x="2394922" y="1159461"/>
                  <a:pt x="2396777" y="1160103"/>
                  <a:pt x="2398700" y="1160208"/>
                </a:cubicBezTo>
                <a:lnTo>
                  <a:pt x="2423822" y="1172048"/>
                </a:lnTo>
                <a:lnTo>
                  <a:pt x="2467578" y="1259664"/>
                </a:lnTo>
                <a:cubicBezTo>
                  <a:pt x="2467578" y="1259664"/>
                  <a:pt x="2520086" y="1426041"/>
                  <a:pt x="2534191" y="1430364"/>
                </a:cubicBezTo>
                <a:cubicBezTo>
                  <a:pt x="2533881" y="1432630"/>
                  <a:pt x="2533264" y="1434483"/>
                  <a:pt x="2532750" y="1436337"/>
                </a:cubicBezTo>
                <a:lnTo>
                  <a:pt x="2532750" y="1436233"/>
                </a:lnTo>
                <a:cubicBezTo>
                  <a:pt x="2530689" y="1444367"/>
                  <a:pt x="2529867" y="1446529"/>
                  <a:pt x="2524512" y="1445602"/>
                </a:cubicBezTo>
                <a:cubicBezTo>
                  <a:pt x="2514217" y="1423982"/>
                  <a:pt x="2396229" y="1211171"/>
                  <a:pt x="2393346" y="1158355"/>
                </a:cubicBezTo>
                <a:close/>
                <a:moveTo>
                  <a:pt x="2769136" y="957385"/>
                </a:moveTo>
                <a:cubicBezTo>
                  <a:pt x="2812894" y="976122"/>
                  <a:pt x="2801258" y="1052412"/>
                  <a:pt x="2776137" y="1087006"/>
                </a:cubicBezTo>
                <a:cubicBezTo>
                  <a:pt x="2777579" y="1092566"/>
                  <a:pt x="2776137" y="1097301"/>
                  <a:pt x="2767592" y="1099670"/>
                </a:cubicBezTo>
                <a:cubicBezTo>
                  <a:pt x="2766340" y="1100347"/>
                  <a:pt x="2764830" y="1100347"/>
                  <a:pt x="2763577" y="1099670"/>
                </a:cubicBezTo>
                <a:cubicBezTo>
                  <a:pt x="2760592" y="1101728"/>
                  <a:pt x="2772328" y="1117687"/>
                  <a:pt x="2769136" y="1118304"/>
                </a:cubicBezTo>
                <a:cubicBezTo>
                  <a:pt x="2786125" y="1132718"/>
                  <a:pt x="2761518" y="1154751"/>
                  <a:pt x="2744015" y="1168960"/>
                </a:cubicBezTo>
                <a:cubicBezTo>
                  <a:pt x="2754311" y="1137557"/>
                  <a:pt x="2729705" y="983947"/>
                  <a:pt x="2769136" y="957487"/>
                </a:cubicBezTo>
                <a:close/>
                <a:moveTo>
                  <a:pt x="808131" y="1516642"/>
                </a:moveTo>
                <a:cubicBezTo>
                  <a:pt x="822853" y="1510465"/>
                  <a:pt x="1433692" y="1524261"/>
                  <a:pt x="1494745" y="1557825"/>
                </a:cubicBezTo>
                <a:cubicBezTo>
                  <a:pt x="1477242" y="1570076"/>
                  <a:pt x="1419896" y="1570180"/>
                  <a:pt x="1384274" y="1570076"/>
                </a:cubicBezTo>
                <a:cubicBezTo>
                  <a:pt x="1369139" y="1570076"/>
                  <a:pt x="1343606" y="1570694"/>
                  <a:pt x="1343606" y="1570694"/>
                </a:cubicBezTo>
                <a:cubicBezTo>
                  <a:pt x="1298510" y="1567812"/>
                  <a:pt x="1252695" y="1564414"/>
                  <a:pt x="1207395" y="1561119"/>
                </a:cubicBezTo>
                <a:cubicBezTo>
                  <a:pt x="1128531" y="1555250"/>
                  <a:pt x="1054196" y="1549794"/>
                  <a:pt x="985010" y="1546499"/>
                </a:cubicBezTo>
                <a:lnTo>
                  <a:pt x="985009" y="1548558"/>
                </a:lnTo>
                <a:cubicBezTo>
                  <a:pt x="982024" y="1539705"/>
                  <a:pt x="967713" y="1537131"/>
                  <a:pt x="954843" y="1534866"/>
                </a:cubicBezTo>
                <a:close/>
                <a:moveTo>
                  <a:pt x="1627147" y="1234645"/>
                </a:moveTo>
                <a:cubicBezTo>
                  <a:pt x="1657416" y="1300537"/>
                  <a:pt x="1656386" y="1423775"/>
                  <a:pt x="1613763" y="1488638"/>
                </a:cubicBezTo>
                <a:cubicBezTo>
                  <a:pt x="1612115" y="1439734"/>
                  <a:pt x="1621073" y="1286638"/>
                  <a:pt x="1627147" y="1234748"/>
                </a:cubicBezTo>
                <a:close/>
                <a:moveTo>
                  <a:pt x="1735730" y="943844"/>
                </a:moveTo>
                <a:cubicBezTo>
                  <a:pt x="1737774" y="944054"/>
                  <a:pt x="1739662" y="945029"/>
                  <a:pt x="1741017" y="946573"/>
                </a:cubicBezTo>
                <a:cubicBezTo>
                  <a:pt x="1744928" y="951103"/>
                  <a:pt x="1753164" y="960473"/>
                  <a:pt x="1743692" y="1404112"/>
                </a:cubicBezTo>
                <a:lnTo>
                  <a:pt x="1743693" y="1413789"/>
                </a:lnTo>
                <a:cubicBezTo>
                  <a:pt x="1745444" y="1485858"/>
                  <a:pt x="1747194" y="1560193"/>
                  <a:pt x="1745444" y="1582637"/>
                </a:cubicBezTo>
                <a:cubicBezTo>
                  <a:pt x="1745228" y="1585544"/>
                  <a:pt x="1743455" y="1588105"/>
                  <a:pt x="1740810" y="1589329"/>
                </a:cubicBezTo>
                <a:cubicBezTo>
                  <a:pt x="1739718" y="1589856"/>
                  <a:pt x="1738522" y="1590136"/>
                  <a:pt x="1737310" y="1590153"/>
                </a:cubicBezTo>
                <a:cubicBezTo>
                  <a:pt x="1735658" y="1590136"/>
                  <a:pt x="1734047" y="1589635"/>
                  <a:pt x="1732676" y="1588712"/>
                </a:cubicBezTo>
                <a:cubicBezTo>
                  <a:pt x="1659269" y="1538365"/>
                  <a:pt x="1682023" y="1396699"/>
                  <a:pt x="1698702" y="1293330"/>
                </a:cubicBezTo>
                <a:lnTo>
                  <a:pt x="1698701" y="1293227"/>
                </a:lnTo>
                <a:cubicBezTo>
                  <a:pt x="1701070" y="1278401"/>
                  <a:pt x="1711777" y="1141676"/>
                  <a:pt x="1718778" y="1051281"/>
                </a:cubicBezTo>
                <a:cubicBezTo>
                  <a:pt x="1722794" y="998979"/>
                  <a:pt x="1726088" y="957693"/>
                  <a:pt x="1726808" y="951103"/>
                </a:cubicBezTo>
                <a:cubicBezTo>
                  <a:pt x="1727267" y="946635"/>
                  <a:pt x="1731262" y="943385"/>
                  <a:pt x="1735730" y="943844"/>
                </a:cubicBezTo>
                <a:close/>
                <a:moveTo>
                  <a:pt x="1594716" y="939264"/>
                </a:moveTo>
                <a:cubicBezTo>
                  <a:pt x="1617881" y="1113569"/>
                  <a:pt x="1618705" y="1251221"/>
                  <a:pt x="1597290" y="1349956"/>
                </a:cubicBezTo>
                <a:lnTo>
                  <a:pt x="1597290" y="1349853"/>
                </a:lnTo>
                <a:cubicBezTo>
                  <a:pt x="1597805" y="1302184"/>
                  <a:pt x="1595540" y="1250809"/>
                  <a:pt x="1593069" y="1197272"/>
                </a:cubicBezTo>
                <a:cubicBezTo>
                  <a:pt x="1589054" y="1107906"/>
                  <a:pt x="1584935" y="1015760"/>
                  <a:pt x="1594716" y="939264"/>
                </a:cubicBezTo>
                <a:close/>
                <a:moveTo>
                  <a:pt x="1513792" y="661283"/>
                </a:moveTo>
                <a:cubicBezTo>
                  <a:pt x="1517704" y="707510"/>
                  <a:pt x="1523059" y="753119"/>
                  <a:pt x="1529646" y="797597"/>
                </a:cubicBezTo>
                <a:cubicBezTo>
                  <a:pt x="1530256" y="801561"/>
                  <a:pt x="1533667" y="804491"/>
                  <a:pt x="1537678" y="804494"/>
                </a:cubicBezTo>
                <a:cubicBezTo>
                  <a:pt x="1541689" y="804491"/>
                  <a:pt x="1545100" y="801561"/>
                  <a:pt x="1545708" y="797597"/>
                </a:cubicBezTo>
                <a:cubicBezTo>
                  <a:pt x="1546533" y="792036"/>
                  <a:pt x="1547355" y="786374"/>
                  <a:pt x="1548076" y="780609"/>
                </a:cubicBezTo>
                <a:cubicBezTo>
                  <a:pt x="1547562" y="816746"/>
                  <a:pt x="1546533" y="847221"/>
                  <a:pt x="1545502" y="870490"/>
                </a:cubicBezTo>
                <a:lnTo>
                  <a:pt x="1544267" y="870489"/>
                </a:lnTo>
                <a:cubicBezTo>
                  <a:pt x="1531500" y="877182"/>
                  <a:pt x="1528825" y="913215"/>
                  <a:pt x="1533972" y="1008965"/>
                </a:cubicBezTo>
                <a:cubicBezTo>
                  <a:pt x="1531398" y="966753"/>
                  <a:pt x="1529132" y="923718"/>
                  <a:pt x="1526662" y="880167"/>
                </a:cubicBezTo>
                <a:cubicBezTo>
                  <a:pt x="1522750" y="807274"/>
                  <a:pt x="1518734" y="733557"/>
                  <a:pt x="1513792" y="661283"/>
                </a:cubicBezTo>
                <a:close/>
                <a:moveTo>
                  <a:pt x="1135016" y="705451"/>
                </a:moveTo>
                <a:cubicBezTo>
                  <a:pt x="1172919" y="783162"/>
                  <a:pt x="1206601" y="862864"/>
                  <a:pt x="1235914" y="944206"/>
                </a:cubicBezTo>
                <a:cubicBezTo>
                  <a:pt x="1265976" y="1022761"/>
                  <a:pt x="1296760" y="1103376"/>
                  <a:pt x="1332589" y="1174725"/>
                </a:cubicBezTo>
                <a:cubicBezTo>
                  <a:pt x="1265050" y="1052619"/>
                  <a:pt x="1206982" y="915069"/>
                  <a:pt x="1135016" y="705451"/>
                </a:cubicBezTo>
                <a:close/>
                <a:moveTo>
                  <a:pt x="308176" y="823130"/>
                </a:moveTo>
                <a:cubicBezTo>
                  <a:pt x="391055" y="879446"/>
                  <a:pt x="472906" y="942147"/>
                  <a:pt x="552181" y="1003097"/>
                </a:cubicBezTo>
                <a:cubicBezTo>
                  <a:pt x="693540" y="1111715"/>
                  <a:pt x="839636" y="1223835"/>
                  <a:pt x="998702" y="1305788"/>
                </a:cubicBezTo>
                <a:cubicBezTo>
                  <a:pt x="969463" y="1300640"/>
                  <a:pt x="914999" y="1269960"/>
                  <a:pt x="836443" y="1214261"/>
                </a:cubicBezTo>
                <a:lnTo>
                  <a:pt x="827899" y="1208289"/>
                </a:lnTo>
                <a:lnTo>
                  <a:pt x="764786" y="1166076"/>
                </a:lnTo>
                <a:cubicBezTo>
                  <a:pt x="608087" y="1061474"/>
                  <a:pt x="446548" y="953574"/>
                  <a:pt x="308176" y="823130"/>
                </a:cubicBezTo>
                <a:close/>
                <a:moveTo>
                  <a:pt x="1555284" y="71961"/>
                </a:moveTo>
                <a:cubicBezTo>
                  <a:pt x="1557034" y="126013"/>
                  <a:pt x="1557034" y="189846"/>
                  <a:pt x="1557137" y="256252"/>
                </a:cubicBezTo>
                <a:cubicBezTo>
                  <a:pt x="1557136" y="295376"/>
                  <a:pt x="1557137" y="335014"/>
                  <a:pt x="1557754" y="373211"/>
                </a:cubicBezTo>
                <a:cubicBezTo>
                  <a:pt x="1555970" y="345139"/>
                  <a:pt x="1553773" y="317203"/>
                  <a:pt x="1551166" y="289405"/>
                </a:cubicBezTo>
                <a:cubicBezTo>
                  <a:pt x="1550688" y="285181"/>
                  <a:pt x="1547076" y="282015"/>
                  <a:pt x="1542825" y="282095"/>
                </a:cubicBezTo>
                <a:cubicBezTo>
                  <a:pt x="1538531" y="282201"/>
                  <a:pt x="1535060" y="285627"/>
                  <a:pt x="1534898" y="289919"/>
                </a:cubicBezTo>
                <a:cubicBezTo>
                  <a:pt x="1532839" y="347368"/>
                  <a:pt x="1534897" y="412643"/>
                  <a:pt x="1536957" y="481830"/>
                </a:cubicBezTo>
                <a:cubicBezTo>
                  <a:pt x="1539428" y="566459"/>
                  <a:pt x="1542105" y="653458"/>
                  <a:pt x="1536956" y="728925"/>
                </a:cubicBezTo>
                <a:cubicBezTo>
                  <a:pt x="1511321" y="509422"/>
                  <a:pt x="1518117" y="268195"/>
                  <a:pt x="1555284" y="71961"/>
                </a:cubicBezTo>
                <a:close/>
                <a:moveTo>
                  <a:pt x="693540" y="231441"/>
                </a:moveTo>
                <a:cubicBezTo>
                  <a:pt x="691192" y="232894"/>
                  <a:pt x="689784" y="235476"/>
                  <a:pt x="689834" y="238235"/>
                </a:cubicBezTo>
                <a:lnTo>
                  <a:pt x="689834" y="269122"/>
                </a:lnTo>
                <a:cubicBezTo>
                  <a:pt x="689860" y="270334"/>
                  <a:pt x="690141" y="271527"/>
                  <a:pt x="690658" y="272623"/>
                </a:cubicBezTo>
                <a:lnTo>
                  <a:pt x="721338" y="333469"/>
                </a:lnTo>
                <a:cubicBezTo>
                  <a:pt x="786303" y="579638"/>
                  <a:pt x="896363" y="774328"/>
                  <a:pt x="1034016" y="1003303"/>
                </a:cubicBezTo>
                <a:lnTo>
                  <a:pt x="1051313" y="1031924"/>
                </a:lnTo>
                <a:lnTo>
                  <a:pt x="1053268" y="1034190"/>
                </a:lnTo>
                <a:cubicBezTo>
                  <a:pt x="1094451" y="1070224"/>
                  <a:pt x="1128529" y="1114908"/>
                  <a:pt x="1161578" y="1158458"/>
                </a:cubicBezTo>
                <a:cubicBezTo>
                  <a:pt x="1162505" y="1159694"/>
                  <a:pt x="1254239" y="1279740"/>
                  <a:pt x="1270609" y="1279740"/>
                </a:cubicBezTo>
                <a:cubicBezTo>
                  <a:pt x="1274286" y="1279806"/>
                  <a:pt x="1277527" y="1277334"/>
                  <a:pt x="1278434" y="1273769"/>
                </a:cubicBezTo>
                <a:lnTo>
                  <a:pt x="1281831" y="1261620"/>
                </a:lnTo>
                <a:cubicBezTo>
                  <a:pt x="1282343" y="1260048"/>
                  <a:pt x="1282343" y="1258353"/>
                  <a:pt x="1281831" y="1256781"/>
                </a:cubicBezTo>
                <a:cubicBezTo>
                  <a:pt x="1260949" y="1216925"/>
                  <a:pt x="1236846" y="1178843"/>
                  <a:pt x="1209762" y="1142912"/>
                </a:cubicBezTo>
                <a:cubicBezTo>
                  <a:pt x="1194801" y="1125925"/>
                  <a:pt x="1181299" y="1107706"/>
                  <a:pt x="1169403" y="1088448"/>
                </a:cubicBezTo>
                <a:cubicBezTo>
                  <a:pt x="1077978" y="971799"/>
                  <a:pt x="1004673" y="845471"/>
                  <a:pt x="926530" y="711629"/>
                </a:cubicBezTo>
                <a:cubicBezTo>
                  <a:pt x="915411" y="692684"/>
                  <a:pt x="904394" y="673534"/>
                  <a:pt x="893173" y="654487"/>
                </a:cubicBezTo>
                <a:cubicBezTo>
                  <a:pt x="846327" y="574491"/>
                  <a:pt x="804012" y="463915"/>
                  <a:pt x="769625" y="374961"/>
                </a:cubicBezTo>
                <a:cubicBezTo>
                  <a:pt x="733076" y="279521"/>
                  <a:pt x="716293" y="237103"/>
                  <a:pt x="701262" y="230822"/>
                </a:cubicBezTo>
                <a:cubicBezTo>
                  <a:pt x="698756" y="229671"/>
                  <a:pt x="695832" y="229906"/>
                  <a:pt x="693540" y="231441"/>
                </a:cubicBezTo>
                <a:close/>
                <a:moveTo>
                  <a:pt x="233327" y="166165"/>
                </a:moveTo>
                <a:cubicBezTo>
                  <a:pt x="229505" y="168022"/>
                  <a:pt x="227754" y="172508"/>
                  <a:pt x="229311" y="176461"/>
                </a:cubicBezTo>
                <a:cubicBezTo>
                  <a:pt x="343387" y="500155"/>
                  <a:pt x="595835" y="775975"/>
                  <a:pt x="840047" y="1042735"/>
                </a:cubicBezTo>
                <a:lnTo>
                  <a:pt x="870934" y="1075886"/>
                </a:lnTo>
                <a:cubicBezTo>
                  <a:pt x="696938" y="917746"/>
                  <a:pt x="548475" y="720482"/>
                  <a:pt x="404130" y="528880"/>
                </a:cubicBezTo>
                <a:cubicBezTo>
                  <a:pt x="348122" y="454547"/>
                  <a:pt x="290261" y="377741"/>
                  <a:pt x="232503" y="305466"/>
                </a:cubicBezTo>
                <a:cubicBezTo>
                  <a:pt x="229669" y="301980"/>
                  <a:pt x="224546" y="301452"/>
                  <a:pt x="221060" y="304286"/>
                </a:cubicBezTo>
                <a:cubicBezTo>
                  <a:pt x="218176" y="306631"/>
                  <a:pt x="217248" y="310636"/>
                  <a:pt x="218809" y="314011"/>
                </a:cubicBezTo>
                <a:cubicBezTo>
                  <a:pt x="398880" y="697420"/>
                  <a:pt x="707337" y="1058591"/>
                  <a:pt x="1074890" y="1319481"/>
                </a:cubicBezTo>
                <a:cubicBezTo>
                  <a:pt x="711661" y="1122115"/>
                  <a:pt x="428017" y="767636"/>
                  <a:pt x="196160" y="477814"/>
                </a:cubicBezTo>
                <a:cubicBezTo>
                  <a:pt x="156932" y="428807"/>
                  <a:pt x="119972" y="382580"/>
                  <a:pt x="83525" y="338103"/>
                </a:cubicBezTo>
                <a:cubicBezTo>
                  <a:pt x="81408" y="335536"/>
                  <a:pt x="77942" y="334517"/>
                  <a:pt x="74774" y="335529"/>
                </a:cubicBezTo>
                <a:cubicBezTo>
                  <a:pt x="69818" y="336993"/>
                  <a:pt x="65942" y="340869"/>
                  <a:pt x="64478" y="345825"/>
                </a:cubicBezTo>
                <a:cubicBezTo>
                  <a:pt x="51712" y="387315"/>
                  <a:pt x="211912" y="580359"/>
                  <a:pt x="438415" y="848456"/>
                </a:cubicBezTo>
                <a:cubicBezTo>
                  <a:pt x="467860" y="883359"/>
                  <a:pt x="496380" y="916922"/>
                  <a:pt x="521913" y="947501"/>
                </a:cubicBezTo>
                <a:cubicBezTo>
                  <a:pt x="461168" y="901479"/>
                  <a:pt x="401454" y="851648"/>
                  <a:pt x="343387" y="803362"/>
                </a:cubicBezTo>
                <a:cubicBezTo>
                  <a:pt x="252271" y="727071"/>
                  <a:pt x="158065" y="648310"/>
                  <a:pt x="59331" y="584477"/>
                </a:cubicBezTo>
                <a:cubicBezTo>
                  <a:pt x="56009" y="582371"/>
                  <a:pt x="51650" y="582982"/>
                  <a:pt x="49035" y="585918"/>
                </a:cubicBezTo>
                <a:cubicBezTo>
                  <a:pt x="46586" y="588914"/>
                  <a:pt x="46586" y="593219"/>
                  <a:pt x="49035" y="596214"/>
                </a:cubicBezTo>
                <a:cubicBezTo>
                  <a:pt x="440989" y="1043352"/>
                  <a:pt x="985936" y="1406685"/>
                  <a:pt x="1343606" y="1459811"/>
                </a:cubicBezTo>
                <a:cubicBezTo>
                  <a:pt x="1349062" y="1461355"/>
                  <a:pt x="1352047" y="1465165"/>
                  <a:pt x="1356784" y="1471856"/>
                </a:cubicBezTo>
                <a:lnTo>
                  <a:pt x="1358329" y="1474018"/>
                </a:lnTo>
                <a:cubicBezTo>
                  <a:pt x="1204717" y="1448177"/>
                  <a:pt x="824398" y="1357781"/>
                  <a:pt x="39151" y="853089"/>
                </a:cubicBezTo>
                <a:lnTo>
                  <a:pt x="14853" y="837544"/>
                </a:lnTo>
                <a:cubicBezTo>
                  <a:pt x="12160" y="835796"/>
                  <a:pt x="8692" y="835796"/>
                  <a:pt x="5999" y="837544"/>
                </a:cubicBezTo>
                <a:cubicBezTo>
                  <a:pt x="1505" y="840490"/>
                  <a:pt x="-771" y="845855"/>
                  <a:pt x="234" y="851134"/>
                </a:cubicBezTo>
                <a:cubicBezTo>
                  <a:pt x="10530" y="919908"/>
                  <a:pt x="765404" y="1347176"/>
                  <a:pt x="1236428" y="1489462"/>
                </a:cubicBezTo>
                <a:cubicBezTo>
                  <a:pt x="993966" y="1507376"/>
                  <a:pt x="759741" y="1444779"/>
                  <a:pt x="532826" y="1384035"/>
                </a:cubicBezTo>
                <a:cubicBezTo>
                  <a:pt x="484333" y="1371062"/>
                  <a:pt x="434193" y="1357678"/>
                  <a:pt x="384878" y="1345323"/>
                </a:cubicBezTo>
                <a:cubicBezTo>
                  <a:pt x="382071" y="1344618"/>
                  <a:pt x="379101" y="1345440"/>
                  <a:pt x="377054" y="1347485"/>
                </a:cubicBezTo>
                <a:cubicBezTo>
                  <a:pt x="375062" y="1349564"/>
                  <a:pt x="374284" y="1352521"/>
                  <a:pt x="374994" y="1355310"/>
                </a:cubicBezTo>
                <a:cubicBezTo>
                  <a:pt x="382819" y="1385270"/>
                  <a:pt x="481760" y="1418114"/>
                  <a:pt x="631766" y="1464753"/>
                </a:cubicBezTo>
                <a:cubicBezTo>
                  <a:pt x="696011" y="1484726"/>
                  <a:pt x="756653" y="1503567"/>
                  <a:pt x="771685" y="1514171"/>
                </a:cubicBezTo>
                <a:cubicBezTo>
                  <a:pt x="775349" y="1515773"/>
                  <a:pt x="778805" y="1517813"/>
                  <a:pt x="781979" y="1520246"/>
                </a:cubicBezTo>
                <a:cubicBezTo>
                  <a:pt x="756344" y="1535175"/>
                  <a:pt x="574935" y="1534351"/>
                  <a:pt x="453446" y="1533733"/>
                </a:cubicBezTo>
                <a:cubicBezTo>
                  <a:pt x="256800" y="1532909"/>
                  <a:pt x="206352" y="1534453"/>
                  <a:pt x="198527" y="1547941"/>
                </a:cubicBezTo>
                <a:cubicBezTo>
                  <a:pt x="196688" y="1551127"/>
                  <a:pt x="196689" y="1555052"/>
                  <a:pt x="198527" y="1558237"/>
                </a:cubicBezTo>
                <a:cubicBezTo>
                  <a:pt x="199846" y="1560609"/>
                  <a:pt x="202302" y="1562129"/>
                  <a:pt x="205014" y="1562253"/>
                </a:cubicBezTo>
                <a:cubicBezTo>
                  <a:pt x="516353" y="1580371"/>
                  <a:pt x="749960" y="1579240"/>
                  <a:pt x="937752" y="1578313"/>
                </a:cubicBezTo>
                <a:cubicBezTo>
                  <a:pt x="1076023" y="1577695"/>
                  <a:pt x="1189481" y="1577181"/>
                  <a:pt x="1291510" y="1584490"/>
                </a:cubicBezTo>
                <a:lnTo>
                  <a:pt x="1281214" y="1586344"/>
                </a:lnTo>
                <a:cubicBezTo>
                  <a:pt x="1245591" y="1593035"/>
                  <a:pt x="1209144" y="1600037"/>
                  <a:pt x="1190510" y="1609611"/>
                </a:cubicBezTo>
                <a:cubicBezTo>
                  <a:pt x="1188198" y="1610830"/>
                  <a:pt x="1186624" y="1613095"/>
                  <a:pt x="1186288" y="1615686"/>
                </a:cubicBezTo>
                <a:cubicBezTo>
                  <a:pt x="986759" y="1627938"/>
                  <a:pt x="757580" y="1628967"/>
                  <a:pt x="645357" y="1592933"/>
                </a:cubicBezTo>
                <a:cubicBezTo>
                  <a:pt x="641069" y="1591596"/>
                  <a:pt x="636508" y="1593989"/>
                  <a:pt x="635171" y="1598277"/>
                </a:cubicBezTo>
                <a:cubicBezTo>
                  <a:pt x="634176" y="1601469"/>
                  <a:pt x="635235" y="1604944"/>
                  <a:pt x="637841" y="1607038"/>
                </a:cubicBezTo>
                <a:cubicBezTo>
                  <a:pt x="776831" y="1717818"/>
                  <a:pt x="1004572" y="1689402"/>
                  <a:pt x="1208630" y="1660679"/>
                </a:cubicBezTo>
                <a:cubicBezTo>
                  <a:pt x="879994" y="1732748"/>
                  <a:pt x="477641" y="1770018"/>
                  <a:pt x="296336" y="1765693"/>
                </a:cubicBezTo>
                <a:cubicBezTo>
                  <a:pt x="293151" y="1765676"/>
                  <a:pt x="290235" y="1767474"/>
                  <a:pt x="288821" y="1770326"/>
                </a:cubicBezTo>
                <a:cubicBezTo>
                  <a:pt x="285701" y="1776112"/>
                  <a:pt x="286223" y="1783182"/>
                  <a:pt x="290158" y="1788447"/>
                </a:cubicBezTo>
                <a:cubicBezTo>
                  <a:pt x="323516" y="1833232"/>
                  <a:pt x="703631" y="1785769"/>
                  <a:pt x="1306130" y="1694756"/>
                </a:cubicBezTo>
                <a:cubicBezTo>
                  <a:pt x="1369447" y="1685284"/>
                  <a:pt x="1424221" y="1676945"/>
                  <a:pt x="1464991" y="1671179"/>
                </a:cubicBezTo>
                <a:cubicBezTo>
                  <a:pt x="1354519" y="1718540"/>
                  <a:pt x="1221911" y="1765693"/>
                  <a:pt x="1082612" y="1815318"/>
                </a:cubicBezTo>
                <a:cubicBezTo>
                  <a:pt x="798453" y="1916318"/>
                  <a:pt x="476406" y="2030805"/>
                  <a:pt x="197189" y="2194712"/>
                </a:cubicBezTo>
                <a:cubicBezTo>
                  <a:pt x="193639" y="2196811"/>
                  <a:pt x="192223" y="2201237"/>
                  <a:pt x="193894" y="2205007"/>
                </a:cubicBezTo>
                <a:cubicBezTo>
                  <a:pt x="195519" y="2209070"/>
                  <a:pt x="200097" y="2211084"/>
                  <a:pt x="204190" y="2209537"/>
                </a:cubicBezTo>
                <a:cubicBezTo>
                  <a:pt x="489482" y="2122334"/>
                  <a:pt x="762727" y="2008052"/>
                  <a:pt x="1027016" y="1897683"/>
                </a:cubicBezTo>
                <a:cubicBezTo>
                  <a:pt x="1152312" y="1845279"/>
                  <a:pt x="1281111" y="1791432"/>
                  <a:pt x="1411557" y="1740263"/>
                </a:cubicBezTo>
                <a:cubicBezTo>
                  <a:pt x="1287391" y="1812332"/>
                  <a:pt x="1135428" y="1885123"/>
                  <a:pt x="987687" y="1956472"/>
                </a:cubicBezTo>
                <a:cubicBezTo>
                  <a:pt x="792070" y="2050264"/>
                  <a:pt x="590482" y="2147249"/>
                  <a:pt x="450254" y="2242483"/>
                </a:cubicBezTo>
                <a:cubicBezTo>
                  <a:pt x="446551" y="2245023"/>
                  <a:pt x="445607" y="2250086"/>
                  <a:pt x="448146" y="2253790"/>
                </a:cubicBezTo>
                <a:cubicBezTo>
                  <a:pt x="450050" y="2256567"/>
                  <a:pt x="453467" y="2257883"/>
                  <a:pt x="456741" y="2257104"/>
                </a:cubicBezTo>
                <a:cubicBezTo>
                  <a:pt x="588731" y="2223951"/>
                  <a:pt x="755932" y="2127379"/>
                  <a:pt x="932605" y="2025349"/>
                </a:cubicBezTo>
                <a:cubicBezTo>
                  <a:pt x="1185054" y="1879563"/>
                  <a:pt x="1534897" y="1721834"/>
                  <a:pt x="1600482" y="1713804"/>
                </a:cubicBezTo>
                <a:cubicBezTo>
                  <a:pt x="1601098" y="1713804"/>
                  <a:pt x="1695407" y="1724100"/>
                  <a:pt x="1695921" y="1723584"/>
                </a:cubicBezTo>
                <a:cubicBezTo>
                  <a:pt x="1716513" y="1727600"/>
                  <a:pt x="1906055" y="1767237"/>
                  <a:pt x="1929426" y="1782887"/>
                </a:cubicBezTo>
                <a:cubicBezTo>
                  <a:pt x="1932927" y="1793182"/>
                  <a:pt x="1957636" y="1852589"/>
                  <a:pt x="1961960" y="1860001"/>
                </a:cubicBezTo>
                <a:cubicBezTo>
                  <a:pt x="1971741" y="1876268"/>
                  <a:pt x="1991612" y="1909626"/>
                  <a:pt x="2053901" y="2064163"/>
                </a:cubicBezTo>
                <a:cubicBezTo>
                  <a:pt x="2001495" y="2048926"/>
                  <a:pt x="1950944" y="2021540"/>
                  <a:pt x="1902658" y="1994873"/>
                </a:cubicBezTo>
                <a:cubicBezTo>
                  <a:pt x="1836251" y="1958531"/>
                  <a:pt x="1767579" y="1920950"/>
                  <a:pt x="1691700" y="1913127"/>
                </a:cubicBezTo>
                <a:cubicBezTo>
                  <a:pt x="1687235" y="1912635"/>
                  <a:pt x="1683217" y="1915856"/>
                  <a:pt x="1682726" y="1920321"/>
                </a:cubicBezTo>
                <a:cubicBezTo>
                  <a:pt x="1682416" y="1923136"/>
                  <a:pt x="1683592" y="1925910"/>
                  <a:pt x="1685832" y="1927644"/>
                </a:cubicBezTo>
                <a:cubicBezTo>
                  <a:pt x="1790375" y="2006216"/>
                  <a:pt x="1909724" y="2062844"/>
                  <a:pt x="2036707" y="2094124"/>
                </a:cubicBezTo>
                <a:cubicBezTo>
                  <a:pt x="1750591" y="2148382"/>
                  <a:pt x="1285127" y="2226010"/>
                  <a:pt x="1211101" y="2345543"/>
                </a:cubicBezTo>
                <a:cubicBezTo>
                  <a:pt x="1209263" y="2348559"/>
                  <a:pt x="1209553" y="2352410"/>
                  <a:pt x="1211822" y="2355118"/>
                </a:cubicBezTo>
                <a:cubicBezTo>
                  <a:pt x="1214148" y="2357784"/>
                  <a:pt x="1217903" y="2358691"/>
                  <a:pt x="1221191" y="2357382"/>
                </a:cubicBezTo>
                <a:cubicBezTo>
                  <a:pt x="1518117" y="2233835"/>
                  <a:pt x="1811438" y="2157545"/>
                  <a:pt x="2035059" y="2144675"/>
                </a:cubicBezTo>
                <a:cubicBezTo>
                  <a:pt x="1806187" y="2247632"/>
                  <a:pt x="1526661" y="2446852"/>
                  <a:pt x="1368521" y="2622289"/>
                </a:cubicBezTo>
                <a:cubicBezTo>
                  <a:pt x="1366584" y="2624440"/>
                  <a:pt x="1365921" y="2627450"/>
                  <a:pt x="1366771" y="2630216"/>
                </a:cubicBezTo>
                <a:cubicBezTo>
                  <a:pt x="1367615" y="2632951"/>
                  <a:pt x="1369850" y="2635030"/>
                  <a:pt x="1372639" y="2635673"/>
                </a:cubicBezTo>
                <a:cubicBezTo>
                  <a:pt x="1403526" y="2643189"/>
                  <a:pt x="1503805" y="2549808"/>
                  <a:pt x="1693862" y="2410611"/>
                </a:cubicBezTo>
                <a:cubicBezTo>
                  <a:pt x="1833677" y="2308272"/>
                  <a:pt x="2085096" y="2145911"/>
                  <a:pt x="2110731" y="2164443"/>
                </a:cubicBezTo>
                <a:cubicBezTo>
                  <a:pt x="2111485" y="2165931"/>
                  <a:pt x="2111485" y="2167690"/>
                  <a:pt x="2110731" y="2169178"/>
                </a:cubicBezTo>
                <a:cubicBezTo>
                  <a:pt x="2106717" y="2179474"/>
                  <a:pt x="2077478" y="2187813"/>
                  <a:pt x="2056165" y="2194094"/>
                </a:cubicBezTo>
                <a:cubicBezTo>
                  <a:pt x="2027028" y="2202742"/>
                  <a:pt x="2005717" y="2209022"/>
                  <a:pt x="2006334" y="2223951"/>
                </a:cubicBezTo>
                <a:cubicBezTo>
                  <a:pt x="2004912" y="2229003"/>
                  <a:pt x="2006153" y="2234432"/>
                  <a:pt x="2009628" y="2238365"/>
                </a:cubicBezTo>
                <a:cubicBezTo>
                  <a:pt x="2015497" y="2243925"/>
                  <a:pt x="2023425" y="2241968"/>
                  <a:pt x="2035574" y="2238879"/>
                </a:cubicBezTo>
                <a:cubicBezTo>
                  <a:pt x="2047123" y="2235709"/>
                  <a:pt x="2058947" y="2233640"/>
                  <a:pt x="2070888" y="2232702"/>
                </a:cubicBezTo>
                <a:cubicBezTo>
                  <a:pt x="2070276" y="2237910"/>
                  <a:pt x="2072422" y="2243060"/>
                  <a:pt x="2076550" y="2246292"/>
                </a:cubicBezTo>
                <a:cubicBezTo>
                  <a:pt x="2088288" y="2254838"/>
                  <a:pt x="2108467" y="2243101"/>
                  <a:pt x="2149340" y="2213758"/>
                </a:cubicBezTo>
                <a:cubicBezTo>
                  <a:pt x="2154693" y="2210053"/>
                  <a:pt x="2160460" y="2205830"/>
                  <a:pt x="2163651" y="2203463"/>
                </a:cubicBezTo>
                <a:cubicBezTo>
                  <a:pt x="2173947" y="2208920"/>
                  <a:pt x="2181463" y="2211906"/>
                  <a:pt x="2187125" y="2207170"/>
                </a:cubicBezTo>
                <a:cubicBezTo>
                  <a:pt x="2192788" y="2202433"/>
                  <a:pt x="2190729" y="2194711"/>
                  <a:pt x="2188052" y="2186579"/>
                </a:cubicBezTo>
                <a:cubicBezTo>
                  <a:pt x="2184757" y="2176283"/>
                  <a:pt x="2180227" y="2162898"/>
                  <a:pt x="2188052" y="2153529"/>
                </a:cubicBezTo>
                <a:cubicBezTo>
                  <a:pt x="2195876" y="2144161"/>
                  <a:pt x="2213996" y="2136541"/>
                  <a:pt x="2263210" y="2138600"/>
                </a:cubicBezTo>
                <a:cubicBezTo>
                  <a:pt x="2235823" y="2149514"/>
                  <a:pt x="2218527" y="2161869"/>
                  <a:pt x="2216056" y="2173194"/>
                </a:cubicBezTo>
                <a:cubicBezTo>
                  <a:pt x="2214878" y="2177980"/>
                  <a:pt x="2216610" y="2183014"/>
                  <a:pt x="2220483" y="2186063"/>
                </a:cubicBezTo>
                <a:cubicBezTo>
                  <a:pt x="2230058" y="2194094"/>
                  <a:pt x="2252400" y="2190491"/>
                  <a:pt x="2274227" y="2184211"/>
                </a:cubicBezTo>
                <a:cubicBezTo>
                  <a:pt x="2256002" y="2200684"/>
                  <a:pt x="2256724" y="2203772"/>
                  <a:pt x="2260430" y="2209022"/>
                </a:cubicBezTo>
                <a:cubicBezTo>
                  <a:pt x="2266608" y="2217671"/>
                  <a:pt x="2270726" y="2215200"/>
                  <a:pt x="2340735" y="2173708"/>
                </a:cubicBezTo>
                <a:cubicBezTo>
                  <a:pt x="2396024" y="2140969"/>
                  <a:pt x="2478697" y="2091962"/>
                  <a:pt x="2537382" y="2068076"/>
                </a:cubicBezTo>
                <a:cubicBezTo>
                  <a:pt x="2326220" y="2198006"/>
                  <a:pt x="1867447" y="2495859"/>
                  <a:pt x="1780037" y="2626407"/>
                </a:cubicBezTo>
                <a:cubicBezTo>
                  <a:pt x="1777885" y="2629630"/>
                  <a:pt x="1778271" y="2633916"/>
                  <a:pt x="1780964" y="2636703"/>
                </a:cubicBezTo>
                <a:cubicBezTo>
                  <a:pt x="1783742" y="2639390"/>
                  <a:pt x="1788003" y="2639817"/>
                  <a:pt x="1791259" y="2637732"/>
                </a:cubicBezTo>
                <a:cubicBezTo>
                  <a:pt x="1874859" y="2582342"/>
                  <a:pt x="1962784" y="2514185"/>
                  <a:pt x="2055958" y="2441189"/>
                </a:cubicBezTo>
                <a:cubicBezTo>
                  <a:pt x="2240457" y="2297050"/>
                  <a:pt x="2431132" y="2148999"/>
                  <a:pt x="2614290" y="2080842"/>
                </a:cubicBezTo>
                <a:cubicBezTo>
                  <a:pt x="2566828" y="2213758"/>
                  <a:pt x="2268976" y="2435732"/>
                  <a:pt x="2123087" y="2544145"/>
                </a:cubicBezTo>
                <a:cubicBezTo>
                  <a:pt x="2074183" y="2580591"/>
                  <a:pt x="2041854" y="2604683"/>
                  <a:pt x="2031662" y="2615287"/>
                </a:cubicBezTo>
                <a:cubicBezTo>
                  <a:pt x="2029471" y="2617556"/>
                  <a:pt x="2028789" y="2620886"/>
                  <a:pt x="2029911" y="2623833"/>
                </a:cubicBezTo>
                <a:cubicBezTo>
                  <a:pt x="2031050" y="2626805"/>
                  <a:pt x="2033836" y="2628824"/>
                  <a:pt x="2037015" y="2628981"/>
                </a:cubicBezTo>
                <a:lnTo>
                  <a:pt x="2038148" y="2628981"/>
                </a:lnTo>
                <a:cubicBezTo>
                  <a:pt x="2039077" y="2630122"/>
                  <a:pt x="2040281" y="2631009"/>
                  <a:pt x="2041649" y="2631555"/>
                </a:cubicBezTo>
                <a:cubicBezTo>
                  <a:pt x="2043687" y="2632425"/>
                  <a:pt x="2045992" y="2632425"/>
                  <a:pt x="2048031" y="2631555"/>
                </a:cubicBezTo>
                <a:cubicBezTo>
                  <a:pt x="2198657" y="2562573"/>
                  <a:pt x="2293376" y="2479180"/>
                  <a:pt x="2362460" y="2418332"/>
                </a:cubicBezTo>
                <a:cubicBezTo>
                  <a:pt x="2387169" y="2396609"/>
                  <a:pt x="2408069" y="2378180"/>
                  <a:pt x="2426705" y="2364692"/>
                </a:cubicBezTo>
                <a:cubicBezTo>
                  <a:pt x="2392625" y="2459412"/>
                  <a:pt x="2307687" y="2628157"/>
                  <a:pt x="2277418" y="2678914"/>
                </a:cubicBezTo>
                <a:cubicBezTo>
                  <a:pt x="2275274" y="2682862"/>
                  <a:pt x="2276737" y="2687801"/>
                  <a:pt x="2280684" y="2689944"/>
                </a:cubicBezTo>
                <a:cubicBezTo>
                  <a:pt x="2283528" y="2691488"/>
                  <a:pt x="2287015" y="2691199"/>
                  <a:pt x="2289567" y="2689211"/>
                </a:cubicBezTo>
                <a:cubicBezTo>
                  <a:pt x="2295436" y="2684268"/>
                  <a:pt x="2301407" y="2679429"/>
                  <a:pt x="2307173" y="2674487"/>
                </a:cubicBezTo>
                <a:cubicBezTo>
                  <a:pt x="2246634" y="2738115"/>
                  <a:pt x="2191449" y="2800815"/>
                  <a:pt x="2149238" y="2867325"/>
                </a:cubicBezTo>
                <a:cubicBezTo>
                  <a:pt x="2147150" y="2870631"/>
                  <a:pt x="2147713" y="2874956"/>
                  <a:pt x="2150575" y="2877621"/>
                </a:cubicBezTo>
                <a:cubicBezTo>
                  <a:pt x="2156584" y="2883742"/>
                  <a:pt x="2164982" y="2886905"/>
                  <a:pt x="2173535" y="2886269"/>
                </a:cubicBezTo>
                <a:cubicBezTo>
                  <a:pt x="2196906" y="2884313"/>
                  <a:pt x="2219660" y="2854661"/>
                  <a:pt x="2245605" y="2820273"/>
                </a:cubicBezTo>
                <a:cubicBezTo>
                  <a:pt x="2238740" y="2841895"/>
                  <a:pt x="2231637" y="2864338"/>
                  <a:pt x="2224293" y="2887607"/>
                </a:cubicBezTo>
                <a:cubicBezTo>
                  <a:pt x="2180124" y="3025671"/>
                  <a:pt x="2130088" y="3182164"/>
                  <a:pt x="2117425" y="3348748"/>
                </a:cubicBezTo>
                <a:cubicBezTo>
                  <a:pt x="2117127" y="3352845"/>
                  <a:pt x="2119894" y="3356534"/>
                  <a:pt x="2123910" y="3357396"/>
                </a:cubicBezTo>
                <a:lnTo>
                  <a:pt x="2126897" y="3357396"/>
                </a:lnTo>
                <a:cubicBezTo>
                  <a:pt x="2130398" y="3357399"/>
                  <a:pt x="2133509" y="3355159"/>
                  <a:pt x="2134618" y="3351836"/>
                </a:cubicBezTo>
                <a:cubicBezTo>
                  <a:pt x="2155209" y="3289342"/>
                  <a:pt x="2174770" y="3224170"/>
                  <a:pt x="2193405" y="3161161"/>
                </a:cubicBezTo>
                <a:cubicBezTo>
                  <a:pt x="2268255" y="2908198"/>
                  <a:pt x="2345575" y="2646380"/>
                  <a:pt x="2554885" y="2464972"/>
                </a:cubicBezTo>
                <a:cubicBezTo>
                  <a:pt x="2602554" y="2428525"/>
                  <a:pt x="2650531" y="2337923"/>
                  <a:pt x="2688728" y="2265236"/>
                </a:cubicBezTo>
                <a:lnTo>
                  <a:pt x="2691507" y="2259883"/>
                </a:lnTo>
                <a:cubicBezTo>
                  <a:pt x="2651972" y="2383018"/>
                  <a:pt x="2605642" y="2509243"/>
                  <a:pt x="2591228" y="2523245"/>
                </a:cubicBezTo>
                <a:cubicBezTo>
                  <a:pt x="2586814" y="2523679"/>
                  <a:pt x="2583588" y="2527609"/>
                  <a:pt x="2584022" y="2532023"/>
                </a:cubicBezTo>
                <a:cubicBezTo>
                  <a:pt x="2584298" y="2534820"/>
                  <a:pt x="2586016" y="2537271"/>
                  <a:pt x="2588551" y="2538483"/>
                </a:cubicBezTo>
                <a:cubicBezTo>
                  <a:pt x="2592518" y="2540402"/>
                  <a:pt x="2597146" y="2540402"/>
                  <a:pt x="2601112" y="2538482"/>
                </a:cubicBezTo>
                <a:cubicBezTo>
                  <a:pt x="2605496" y="2536358"/>
                  <a:pt x="2609388" y="2533343"/>
                  <a:pt x="2612540" y="2529629"/>
                </a:cubicBezTo>
                <a:cubicBezTo>
                  <a:pt x="2559415" y="2623833"/>
                  <a:pt x="2494861" y="2723289"/>
                  <a:pt x="2437000" y="2812346"/>
                </a:cubicBezTo>
                <a:cubicBezTo>
                  <a:pt x="2359268" y="2932084"/>
                  <a:pt x="2292140" y="3035349"/>
                  <a:pt x="2267226" y="3100109"/>
                </a:cubicBezTo>
                <a:cubicBezTo>
                  <a:pt x="2265595" y="3104295"/>
                  <a:pt x="2267669" y="3109009"/>
                  <a:pt x="2271855" y="3110639"/>
                </a:cubicBezTo>
                <a:cubicBezTo>
                  <a:pt x="2275390" y="3112015"/>
                  <a:pt x="2279407" y="3110764"/>
                  <a:pt x="2281537" y="3107624"/>
                </a:cubicBezTo>
                <a:cubicBezTo>
                  <a:pt x="2298832" y="3082812"/>
                  <a:pt x="2318910" y="3054705"/>
                  <a:pt x="2340839" y="3024023"/>
                </a:cubicBezTo>
                <a:cubicBezTo>
                  <a:pt x="2503098" y="2797006"/>
                  <a:pt x="2774490" y="2417200"/>
                  <a:pt x="2756781" y="2176591"/>
                </a:cubicBezTo>
                <a:cubicBezTo>
                  <a:pt x="2756820" y="2175906"/>
                  <a:pt x="2756820" y="2175218"/>
                  <a:pt x="2756782" y="2174532"/>
                </a:cubicBezTo>
                <a:cubicBezTo>
                  <a:pt x="2749780" y="2153941"/>
                  <a:pt x="2750501" y="2140453"/>
                  <a:pt x="2759047" y="2132217"/>
                </a:cubicBezTo>
                <a:cubicBezTo>
                  <a:pt x="2804038" y="2088153"/>
                  <a:pt x="3264870" y="2212935"/>
                  <a:pt x="3492712" y="2296948"/>
                </a:cubicBezTo>
                <a:cubicBezTo>
                  <a:pt x="3758648" y="2395065"/>
                  <a:pt x="3795403" y="2399904"/>
                  <a:pt x="3844205" y="2387754"/>
                </a:cubicBezTo>
                <a:cubicBezTo>
                  <a:pt x="3867781" y="2382092"/>
                  <a:pt x="3861398" y="2341424"/>
                  <a:pt x="3845336" y="2302713"/>
                </a:cubicBezTo>
                <a:cubicBezTo>
                  <a:pt x="3844719" y="2300705"/>
                  <a:pt x="3843194" y="2299104"/>
                  <a:pt x="3841218" y="2298388"/>
                </a:cubicBezTo>
                <a:cubicBezTo>
                  <a:pt x="3643646" y="2260810"/>
                  <a:pt x="3614716" y="2253500"/>
                  <a:pt x="3492299" y="2224878"/>
                </a:cubicBezTo>
                <a:cubicBezTo>
                  <a:pt x="3409421" y="2205522"/>
                  <a:pt x="3232748" y="2114921"/>
                  <a:pt x="3181784" y="2090520"/>
                </a:cubicBezTo>
                <a:cubicBezTo>
                  <a:pt x="3176740" y="2081666"/>
                  <a:pt x="3201244" y="2026791"/>
                  <a:pt x="3227086" y="1968620"/>
                </a:cubicBezTo>
                <a:cubicBezTo>
                  <a:pt x="3319128" y="1762193"/>
                  <a:pt x="3510524" y="1332659"/>
                  <a:pt x="3542337" y="671372"/>
                </a:cubicBezTo>
                <a:cubicBezTo>
                  <a:pt x="3542549" y="666885"/>
                  <a:pt x="3539083" y="663076"/>
                  <a:pt x="3534596" y="662864"/>
                </a:cubicBezTo>
                <a:cubicBezTo>
                  <a:pt x="3530649" y="662678"/>
                  <a:pt x="3527140" y="665355"/>
                  <a:pt x="3526276" y="669210"/>
                </a:cubicBezTo>
                <a:cubicBezTo>
                  <a:pt x="3505685" y="763930"/>
                  <a:pt x="3487462" y="854531"/>
                  <a:pt x="3469857" y="943073"/>
                </a:cubicBezTo>
                <a:cubicBezTo>
                  <a:pt x="3401801" y="1284476"/>
                  <a:pt x="3342911" y="1579342"/>
                  <a:pt x="3175710" y="1935469"/>
                </a:cubicBezTo>
                <a:cubicBezTo>
                  <a:pt x="3142867" y="1991065"/>
                  <a:pt x="3127733" y="2060560"/>
                  <a:pt x="3122379" y="2086196"/>
                </a:cubicBezTo>
                <a:cubicBezTo>
                  <a:pt x="3109818" y="2088872"/>
                  <a:pt x="3053707" y="2067561"/>
                  <a:pt x="3012422" y="2051911"/>
                </a:cubicBezTo>
                <a:cubicBezTo>
                  <a:pt x="2988743" y="2042954"/>
                  <a:pt x="2964547" y="2033792"/>
                  <a:pt x="2941692" y="2025966"/>
                </a:cubicBezTo>
                <a:cubicBezTo>
                  <a:pt x="3032396" y="1960898"/>
                  <a:pt x="3074917" y="1888828"/>
                  <a:pt x="3107348" y="1826849"/>
                </a:cubicBezTo>
                <a:cubicBezTo>
                  <a:pt x="3201244" y="1692389"/>
                  <a:pt x="3401082" y="1120570"/>
                  <a:pt x="3372357" y="1030483"/>
                </a:cubicBezTo>
                <a:cubicBezTo>
                  <a:pt x="3371201" y="1026955"/>
                  <a:pt x="3367828" y="1024636"/>
                  <a:pt x="3364120" y="1024820"/>
                </a:cubicBezTo>
                <a:cubicBezTo>
                  <a:pt x="3360433" y="1025025"/>
                  <a:pt x="3357347" y="1027689"/>
                  <a:pt x="3356604" y="1031307"/>
                </a:cubicBezTo>
                <a:cubicBezTo>
                  <a:pt x="3310789" y="1256781"/>
                  <a:pt x="3148530" y="1641426"/>
                  <a:pt x="3024365" y="1868958"/>
                </a:cubicBezTo>
                <a:cubicBezTo>
                  <a:pt x="2975667" y="1924863"/>
                  <a:pt x="2920275" y="1983446"/>
                  <a:pt x="2896390" y="2002184"/>
                </a:cubicBezTo>
                <a:lnTo>
                  <a:pt x="2896906" y="2001257"/>
                </a:lnTo>
                <a:cubicBezTo>
                  <a:pt x="3045265" y="1805641"/>
                  <a:pt x="3415907" y="861018"/>
                  <a:pt x="3435366" y="796669"/>
                </a:cubicBezTo>
                <a:cubicBezTo>
                  <a:pt x="3441029" y="777726"/>
                  <a:pt x="3444735" y="759194"/>
                  <a:pt x="3448235" y="741382"/>
                </a:cubicBezTo>
                <a:cubicBezTo>
                  <a:pt x="3453280" y="715129"/>
                  <a:pt x="3457810" y="692478"/>
                  <a:pt x="3467283" y="677549"/>
                </a:cubicBezTo>
                <a:cubicBezTo>
                  <a:pt x="3469796" y="673900"/>
                  <a:pt x="3468925" y="668911"/>
                  <a:pt x="3465326" y="666327"/>
                </a:cubicBezTo>
                <a:lnTo>
                  <a:pt x="3456575" y="659841"/>
                </a:lnTo>
                <a:cubicBezTo>
                  <a:pt x="3453114" y="657287"/>
                  <a:pt x="3448270" y="657825"/>
                  <a:pt x="3445456" y="661076"/>
                </a:cubicBezTo>
                <a:cubicBezTo>
                  <a:pt x="3410965" y="701538"/>
                  <a:pt x="3389138" y="762180"/>
                  <a:pt x="3368033" y="820968"/>
                </a:cubicBezTo>
                <a:lnTo>
                  <a:pt x="3363399" y="834043"/>
                </a:lnTo>
                <a:cubicBezTo>
                  <a:pt x="3273003" y="1092051"/>
                  <a:pt x="3044956" y="1711127"/>
                  <a:pt x="2859841" y="1951014"/>
                </a:cubicBezTo>
                <a:cubicBezTo>
                  <a:pt x="2858913" y="1948544"/>
                  <a:pt x="2857987" y="1946072"/>
                  <a:pt x="2857164" y="1943498"/>
                </a:cubicBezTo>
                <a:cubicBezTo>
                  <a:pt x="2859199" y="1943199"/>
                  <a:pt x="2861041" y="1942131"/>
                  <a:pt x="2862312" y="1940513"/>
                </a:cubicBezTo>
                <a:cubicBezTo>
                  <a:pt x="2920173" y="1865972"/>
                  <a:pt x="2945604" y="1778769"/>
                  <a:pt x="2970210" y="1694344"/>
                </a:cubicBezTo>
                <a:cubicBezTo>
                  <a:pt x="2998420" y="1597463"/>
                  <a:pt x="3025086" y="1505935"/>
                  <a:pt x="3097257" y="1436233"/>
                </a:cubicBezTo>
                <a:cubicBezTo>
                  <a:pt x="3099414" y="1434123"/>
                  <a:pt x="3100243" y="1431002"/>
                  <a:pt x="3099419" y="1428100"/>
                </a:cubicBezTo>
                <a:cubicBezTo>
                  <a:pt x="3098587" y="1425202"/>
                  <a:pt x="3096202" y="1423015"/>
                  <a:pt x="3093242" y="1422437"/>
                </a:cubicBezTo>
                <a:cubicBezTo>
                  <a:pt x="3083166" y="1419779"/>
                  <a:pt x="3072435" y="1421499"/>
                  <a:pt x="3063694" y="1427174"/>
                </a:cubicBezTo>
                <a:cubicBezTo>
                  <a:pt x="3055550" y="1433484"/>
                  <a:pt x="3049868" y="1442444"/>
                  <a:pt x="3047633" y="1452501"/>
                </a:cubicBezTo>
                <a:cubicBezTo>
                  <a:pt x="3045374" y="1452861"/>
                  <a:pt x="3043265" y="1453860"/>
                  <a:pt x="3041558" y="1455384"/>
                </a:cubicBezTo>
                <a:cubicBezTo>
                  <a:pt x="3041559" y="1454353"/>
                  <a:pt x="3041558" y="1453222"/>
                  <a:pt x="3041558" y="1452191"/>
                </a:cubicBezTo>
                <a:cubicBezTo>
                  <a:pt x="3040331" y="1444132"/>
                  <a:pt x="3035724" y="1436980"/>
                  <a:pt x="3028895" y="1432527"/>
                </a:cubicBezTo>
                <a:cubicBezTo>
                  <a:pt x="3025160" y="1430033"/>
                  <a:pt x="3020108" y="1431039"/>
                  <a:pt x="3017615" y="1434775"/>
                </a:cubicBezTo>
                <a:cubicBezTo>
                  <a:pt x="3016170" y="1436938"/>
                  <a:pt x="3015847" y="1439662"/>
                  <a:pt x="3016746" y="1442102"/>
                </a:cubicBezTo>
                <a:cubicBezTo>
                  <a:pt x="3021791" y="1456001"/>
                  <a:pt x="3013657" y="1466503"/>
                  <a:pt x="3000170" y="1482461"/>
                </a:cubicBezTo>
                <a:cubicBezTo>
                  <a:pt x="2996875" y="1486373"/>
                  <a:pt x="2993477" y="1490286"/>
                  <a:pt x="2990390" y="1494404"/>
                </a:cubicBezTo>
                <a:lnTo>
                  <a:pt x="3003259" y="1454045"/>
                </a:lnTo>
                <a:cubicBezTo>
                  <a:pt x="3020349" y="1400611"/>
                  <a:pt x="3041352" y="1334512"/>
                  <a:pt x="3046912" y="1323188"/>
                </a:cubicBezTo>
                <a:cubicBezTo>
                  <a:pt x="3048742" y="1321659"/>
                  <a:pt x="3049799" y="1319396"/>
                  <a:pt x="3049795" y="1317010"/>
                </a:cubicBezTo>
                <a:cubicBezTo>
                  <a:pt x="3051545" y="1309288"/>
                  <a:pt x="3072034" y="1267386"/>
                  <a:pt x="3093654" y="1223114"/>
                </a:cubicBezTo>
                <a:cubicBezTo>
                  <a:pt x="3137926" y="1132615"/>
                  <a:pt x="3204847" y="995890"/>
                  <a:pt x="3228732" y="917231"/>
                </a:cubicBezTo>
                <a:cubicBezTo>
                  <a:pt x="3229038" y="916050"/>
                  <a:pt x="3229038" y="914810"/>
                  <a:pt x="3228732" y="913628"/>
                </a:cubicBezTo>
                <a:cubicBezTo>
                  <a:pt x="3226982" y="902817"/>
                  <a:pt x="3221629" y="899832"/>
                  <a:pt x="3217511" y="899317"/>
                </a:cubicBezTo>
                <a:cubicBezTo>
                  <a:pt x="3201346" y="897258"/>
                  <a:pt x="3184771" y="928557"/>
                  <a:pt x="3127630" y="1053752"/>
                </a:cubicBezTo>
                <a:cubicBezTo>
                  <a:pt x="3098184" y="1118408"/>
                  <a:pt x="3067709" y="1185432"/>
                  <a:pt x="3045780" y="1218481"/>
                </a:cubicBezTo>
                <a:cubicBezTo>
                  <a:pt x="3045257" y="1219268"/>
                  <a:pt x="3044875" y="1220139"/>
                  <a:pt x="3044648" y="1221055"/>
                </a:cubicBezTo>
                <a:cubicBezTo>
                  <a:pt x="3020768" y="1270099"/>
                  <a:pt x="2993416" y="1317373"/>
                  <a:pt x="2962797" y="1362518"/>
                </a:cubicBezTo>
                <a:cubicBezTo>
                  <a:pt x="3060708" y="1172048"/>
                  <a:pt x="3125674" y="890155"/>
                  <a:pt x="3138647" y="592920"/>
                </a:cubicBezTo>
                <a:cubicBezTo>
                  <a:pt x="3138767" y="588817"/>
                  <a:pt x="3135885" y="585236"/>
                  <a:pt x="3131851" y="584477"/>
                </a:cubicBezTo>
                <a:cubicBezTo>
                  <a:pt x="3127804" y="583782"/>
                  <a:pt x="3123876" y="586210"/>
                  <a:pt x="3122688" y="590139"/>
                </a:cubicBezTo>
                <a:cubicBezTo>
                  <a:pt x="3095199" y="680843"/>
                  <a:pt x="3080168" y="781638"/>
                  <a:pt x="3064312" y="888713"/>
                </a:cubicBezTo>
                <a:cubicBezTo>
                  <a:pt x="3035793" y="1080005"/>
                  <a:pt x="3006348" y="1277373"/>
                  <a:pt x="2900096" y="1408642"/>
                </a:cubicBezTo>
                <a:cubicBezTo>
                  <a:pt x="2961151" y="1147339"/>
                  <a:pt x="2980917" y="888095"/>
                  <a:pt x="3000170" y="578814"/>
                </a:cubicBezTo>
                <a:cubicBezTo>
                  <a:pt x="3000271" y="577891"/>
                  <a:pt x="3000271" y="576958"/>
                  <a:pt x="3000170" y="576035"/>
                </a:cubicBezTo>
                <a:cubicBezTo>
                  <a:pt x="2999140" y="572637"/>
                  <a:pt x="2995846" y="562238"/>
                  <a:pt x="2987198" y="563062"/>
                </a:cubicBezTo>
                <a:cubicBezTo>
                  <a:pt x="2973299" y="564401"/>
                  <a:pt x="2969180" y="582932"/>
                  <a:pt x="2948794" y="812010"/>
                </a:cubicBezTo>
                <a:cubicBezTo>
                  <a:pt x="2934587" y="972622"/>
                  <a:pt x="2907612" y="1271607"/>
                  <a:pt x="2877961" y="1278092"/>
                </a:cubicBezTo>
                <a:cubicBezTo>
                  <a:pt x="2876005" y="1278092"/>
                  <a:pt x="2858194" y="1270474"/>
                  <a:pt x="2831528" y="1118923"/>
                </a:cubicBezTo>
                <a:cubicBezTo>
                  <a:pt x="2831139" y="1116571"/>
                  <a:pt x="2829699" y="1114523"/>
                  <a:pt x="2827615" y="1113364"/>
                </a:cubicBezTo>
                <a:cubicBezTo>
                  <a:pt x="2815467" y="1106259"/>
                  <a:pt x="2818555" y="1073827"/>
                  <a:pt x="2821438" y="1042528"/>
                </a:cubicBezTo>
                <a:cubicBezTo>
                  <a:pt x="2825968" y="993419"/>
                  <a:pt x="2831116" y="937926"/>
                  <a:pt x="2789934" y="918981"/>
                </a:cubicBezTo>
                <a:cubicBezTo>
                  <a:pt x="2787662" y="917859"/>
                  <a:pt x="2784998" y="917859"/>
                  <a:pt x="2782726" y="918981"/>
                </a:cubicBezTo>
                <a:cubicBezTo>
                  <a:pt x="2773255" y="924232"/>
                  <a:pt x="2768828" y="924232"/>
                  <a:pt x="2767798" y="923511"/>
                </a:cubicBezTo>
                <a:cubicBezTo>
                  <a:pt x="2762650" y="920011"/>
                  <a:pt x="2765637" y="894581"/>
                  <a:pt x="2767798" y="879343"/>
                </a:cubicBezTo>
                <a:cubicBezTo>
                  <a:pt x="2771082" y="862157"/>
                  <a:pt x="2771360" y="844530"/>
                  <a:pt x="2768622" y="827248"/>
                </a:cubicBezTo>
                <a:cubicBezTo>
                  <a:pt x="2767634" y="823469"/>
                  <a:pt x="2764071" y="820948"/>
                  <a:pt x="2760179" y="821276"/>
                </a:cubicBezTo>
                <a:cubicBezTo>
                  <a:pt x="2737426" y="822821"/>
                  <a:pt x="2735366" y="814275"/>
                  <a:pt x="2732381" y="789256"/>
                </a:cubicBezTo>
                <a:cubicBezTo>
                  <a:pt x="2732056" y="786349"/>
                  <a:pt x="2730158" y="783855"/>
                  <a:pt x="2727439" y="782771"/>
                </a:cubicBezTo>
                <a:cubicBezTo>
                  <a:pt x="2724786" y="781545"/>
                  <a:pt x="2721666" y="781945"/>
                  <a:pt x="2719409" y="783800"/>
                </a:cubicBezTo>
                <a:cubicBezTo>
                  <a:pt x="2650531" y="836925"/>
                  <a:pt x="2640132" y="902612"/>
                  <a:pt x="2690170" y="968606"/>
                </a:cubicBezTo>
                <a:cubicBezTo>
                  <a:pt x="2691274" y="970110"/>
                  <a:pt x="2692881" y="971170"/>
                  <a:pt x="2694700" y="971592"/>
                </a:cubicBezTo>
                <a:cubicBezTo>
                  <a:pt x="2698042" y="972563"/>
                  <a:pt x="2701561" y="972773"/>
                  <a:pt x="2704995" y="972210"/>
                </a:cubicBezTo>
                <a:cubicBezTo>
                  <a:pt x="2701180" y="1010683"/>
                  <a:pt x="2691854" y="1048408"/>
                  <a:pt x="2677299" y="1084226"/>
                </a:cubicBezTo>
                <a:cubicBezTo>
                  <a:pt x="2651355" y="1054059"/>
                  <a:pt x="2654753" y="1014216"/>
                  <a:pt x="2658252" y="972107"/>
                </a:cubicBezTo>
                <a:cubicBezTo>
                  <a:pt x="2660930" y="941220"/>
                  <a:pt x="2663607" y="909303"/>
                  <a:pt x="2652899" y="882328"/>
                </a:cubicBezTo>
                <a:cubicBezTo>
                  <a:pt x="2654668" y="880889"/>
                  <a:pt x="2656166" y="879146"/>
                  <a:pt x="2657326" y="877181"/>
                </a:cubicBezTo>
                <a:cubicBezTo>
                  <a:pt x="2662577" y="867607"/>
                  <a:pt x="2658871" y="855767"/>
                  <a:pt x="2654855" y="843205"/>
                </a:cubicBezTo>
                <a:cubicBezTo>
                  <a:pt x="2653302" y="838741"/>
                  <a:pt x="2652097" y="834164"/>
                  <a:pt x="2651251" y="829513"/>
                </a:cubicBezTo>
                <a:lnTo>
                  <a:pt x="2651252" y="824261"/>
                </a:lnTo>
                <a:cubicBezTo>
                  <a:pt x="2651374" y="819922"/>
                  <a:pt x="2648065" y="816251"/>
                  <a:pt x="2643736" y="815922"/>
                </a:cubicBezTo>
                <a:lnTo>
                  <a:pt x="2638588" y="815923"/>
                </a:lnTo>
                <a:cubicBezTo>
                  <a:pt x="2616967" y="814275"/>
                  <a:pt x="2611099" y="827762"/>
                  <a:pt x="2609864" y="831983"/>
                </a:cubicBezTo>
                <a:cubicBezTo>
                  <a:pt x="2605230" y="846912"/>
                  <a:pt x="2616246" y="865960"/>
                  <a:pt x="2625616" y="876358"/>
                </a:cubicBezTo>
                <a:cubicBezTo>
                  <a:pt x="2625616" y="890155"/>
                  <a:pt x="2625616" y="902715"/>
                  <a:pt x="2625616" y="914863"/>
                </a:cubicBezTo>
                <a:cubicBezTo>
                  <a:pt x="2626848" y="932018"/>
                  <a:pt x="2626503" y="949250"/>
                  <a:pt x="2624586" y="966341"/>
                </a:cubicBezTo>
                <a:cubicBezTo>
                  <a:pt x="2615418" y="985628"/>
                  <a:pt x="2610804" y="1006763"/>
                  <a:pt x="2611099" y="1028115"/>
                </a:cubicBezTo>
                <a:cubicBezTo>
                  <a:pt x="2609967" y="1053545"/>
                  <a:pt x="2609452" y="1066414"/>
                  <a:pt x="2581962" y="1072901"/>
                </a:cubicBezTo>
                <a:cubicBezTo>
                  <a:pt x="2579733" y="1073459"/>
                  <a:pt x="2577834" y="1074911"/>
                  <a:pt x="2576712" y="1076917"/>
                </a:cubicBezTo>
                <a:cubicBezTo>
                  <a:pt x="2552517" y="1120982"/>
                  <a:pt x="2553341" y="1163297"/>
                  <a:pt x="2554164" y="1204068"/>
                </a:cubicBezTo>
                <a:cubicBezTo>
                  <a:pt x="2554987" y="1242984"/>
                  <a:pt x="2555709" y="1279843"/>
                  <a:pt x="2534705" y="1315981"/>
                </a:cubicBezTo>
                <a:cubicBezTo>
                  <a:pt x="2459753" y="1149397"/>
                  <a:pt x="2395920" y="752708"/>
                  <a:pt x="2370696" y="520747"/>
                </a:cubicBezTo>
                <a:cubicBezTo>
                  <a:pt x="2370290" y="517100"/>
                  <a:pt x="2367518" y="514160"/>
                  <a:pt x="2363900" y="513540"/>
                </a:cubicBezTo>
                <a:cubicBezTo>
                  <a:pt x="2359031" y="512694"/>
                  <a:pt x="2354058" y="514313"/>
                  <a:pt x="2350619" y="517864"/>
                </a:cubicBezTo>
                <a:cubicBezTo>
                  <a:pt x="2330029" y="538455"/>
                  <a:pt x="2345575" y="639354"/>
                  <a:pt x="2382330" y="849177"/>
                </a:cubicBezTo>
                <a:cubicBezTo>
                  <a:pt x="2402921" y="966753"/>
                  <a:pt x="2424131" y="1088036"/>
                  <a:pt x="2423512" y="1145382"/>
                </a:cubicBezTo>
                <a:cubicBezTo>
                  <a:pt x="2387890" y="1126541"/>
                  <a:pt x="2381404" y="1096169"/>
                  <a:pt x="2375535" y="1069092"/>
                </a:cubicBezTo>
                <a:cubicBezTo>
                  <a:pt x="2371726" y="1051383"/>
                  <a:pt x="2368123" y="1034601"/>
                  <a:pt x="2355973" y="1025232"/>
                </a:cubicBezTo>
                <a:lnTo>
                  <a:pt x="2319116" y="965106"/>
                </a:lnTo>
                <a:cubicBezTo>
                  <a:pt x="2284007" y="876563"/>
                  <a:pt x="2273917" y="806862"/>
                  <a:pt x="2263210" y="733043"/>
                </a:cubicBezTo>
                <a:cubicBezTo>
                  <a:pt x="2257444" y="693199"/>
                  <a:pt x="2251472" y="651913"/>
                  <a:pt x="2241280" y="605789"/>
                </a:cubicBezTo>
                <a:cubicBezTo>
                  <a:pt x="2240732" y="603089"/>
                  <a:pt x="2238822" y="600868"/>
                  <a:pt x="2236235" y="599921"/>
                </a:cubicBezTo>
                <a:cubicBezTo>
                  <a:pt x="2233656" y="598909"/>
                  <a:pt x="2230738" y="599298"/>
                  <a:pt x="2228514" y="600950"/>
                </a:cubicBezTo>
                <a:cubicBezTo>
                  <a:pt x="2199994" y="622262"/>
                  <a:pt x="2216777" y="692787"/>
                  <a:pt x="2234485" y="767430"/>
                </a:cubicBezTo>
                <a:cubicBezTo>
                  <a:pt x="2239530" y="788844"/>
                  <a:pt x="2244781" y="809642"/>
                  <a:pt x="2247766" y="827351"/>
                </a:cubicBezTo>
                <a:cubicBezTo>
                  <a:pt x="2234794" y="801406"/>
                  <a:pt x="2221822" y="768562"/>
                  <a:pt x="2208335" y="734690"/>
                </a:cubicBezTo>
                <a:cubicBezTo>
                  <a:pt x="2182595" y="669519"/>
                  <a:pt x="2155929" y="602083"/>
                  <a:pt x="2124631" y="571710"/>
                </a:cubicBezTo>
                <a:cubicBezTo>
                  <a:pt x="2121914" y="568914"/>
                  <a:pt x="2117595" y="568439"/>
                  <a:pt x="2114335" y="570577"/>
                </a:cubicBezTo>
                <a:cubicBezTo>
                  <a:pt x="2111181" y="572595"/>
                  <a:pt x="2109786" y="576488"/>
                  <a:pt x="2110938" y="580049"/>
                </a:cubicBezTo>
                <a:cubicBezTo>
                  <a:pt x="2196185" y="838161"/>
                  <a:pt x="2318807" y="1087829"/>
                  <a:pt x="2437412" y="1329365"/>
                </a:cubicBezTo>
                <a:cubicBezTo>
                  <a:pt x="2472623" y="1401434"/>
                  <a:pt x="2508863" y="1474842"/>
                  <a:pt x="2543046" y="1546911"/>
                </a:cubicBezTo>
                <a:cubicBezTo>
                  <a:pt x="2487964" y="1496566"/>
                  <a:pt x="2421660" y="1382181"/>
                  <a:pt x="2371417" y="1295698"/>
                </a:cubicBezTo>
                <a:cubicBezTo>
                  <a:pt x="2311187" y="1191816"/>
                  <a:pt x="2295538" y="1167930"/>
                  <a:pt x="2280198" y="1172151"/>
                </a:cubicBezTo>
                <a:cubicBezTo>
                  <a:pt x="2270520" y="1174519"/>
                  <a:pt x="2269902" y="1186667"/>
                  <a:pt x="2269903" y="1190683"/>
                </a:cubicBezTo>
                <a:cubicBezTo>
                  <a:pt x="2269915" y="1191843"/>
                  <a:pt x="2270125" y="1192990"/>
                  <a:pt x="2270520" y="1194080"/>
                </a:cubicBezTo>
                <a:cubicBezTo>
                  <a:pt x="2294920" y="1249636"/>
                  <a:pt x="2322879" y="1303561"/>
                  <a:pt x="2354223" y="1355515"/>
                </a:cubicBezTo>
                <a:cubicBezTo>
                  <a:pt x="2369254" y="1381872"/>
                  <a:pt x="2383565" y="1406994"/>
                  <a:pt x="2396641" y="1431498"/>
                </a:cubicBezTo>
                <a:cubicBezTo>
                  <a:pt x="2330235" y="1390315"/>
                  <a:pt x="2276594" y="1308671"/>
                  <a:pt x="2224498" y="1229806"/>
                </a:cubicBezTo>
                <a:cubicBezTo>
                  <a:pt x="2201082" y="1192781"/>
                  <a:pt x="2175790" y="1156974"/>
                  <a:pt x="2148723" y="1122527"/>
                </a:cubicBezTo>
                <a:cubicBezTo>
                  <a:pt x="2147149" y="1120453"/>
                  <a:pt x="2144625" y="1119327"/>
                  <a:pt x="2142031" y="1119541"/>
                </a:cubicBezTo>
                <a:cubicBezTo>
                  <a:pt x="2139493" y="1119620"/>
                  <a:pt x="2137152" y="1120924"/>
                  <a:pt x="2135751" y="1123041"/>
                </a:cubicBezTo>
                <a:cubicBezTo>
                  <a:pt x="2124014" y="1140028"/>
                  <a:pt x="2185273" y="1245971"/>
                  <a:pt x="2214512" y="1294153"/>
                </a:cubicBezTo>
                <a:cubicBezTo>
                  <a:pt x="2193096" y="1277475"/>
                  <a:pt x="2154694" y="1239175"/>
                  <a:pt x="2093436" y="1162164"/>
                </a:cubicBezTo>
                <a:cubicBezTo>
                  <a:pt x="2028264" y="1079799"/>
                  <a:pt x="1975757" y="1002067"/>
                  <a:pt x="1972256" y="987139"/>
                </a:cubicBezTo>
                <a:cubicBezTo>
                  <a:pt x="1971533" y="983788"/>
                  <a:pt x="1968762" y="981265"/>
                  <a:pt x="1965359" y="980859"/>
                </a:cubicBezTo>
                <a:cubicBezTo>
                  <a:pt x="1962006" y="980444"/>
                  <a:pt x="1958742" y="982117"/>
                  <a:pt x="1957122" y="985080"/>
                </a:cubicBezTo>
                <a:cubicBezTo>
                  <a:pt x="1925204" y="1045103"/>
                  <a:pt x="2029191" y="1153207"/>
                  <a:pt x="2129985" y="1257707"/>
                </a:cubicBezTo>
                <a:cubicBezTo>
                  <a:pt x="2197524" y="1327820"/>
                  <a:pt x="2267328" y="1400302"/>
                  <a:pt x="2261254" y="1428100"/>
                </a:cubicBezTo>
                <a:cubicBezTo>
                  <a:pt x="2260562" y="1431504"/>
                  <a:pt x="2258200" y="1434331"/>
                  <a:pt x="2254974" y="1435616"/>
                </a:cubicBezTo>
                <a:cubicBezTo>
                  <a:pt x="2205966" y="1414098"/>
                  <a:pt x="2109188" y="1325247"/>
                  <a:pt x="2023528" y="1246588"/>
                </a:cubicBezTo>
                <a:cubicBezTo>
                  <a:pt x="1958665" y="1186977"/>
                  <a:pt x="1897303" y="1130660"/>
                  <a:pt x="1858799" y="1105126"/>
                </a:cubicBezTo>
                <a:cubicBezTo>
                  <a:pt x="1855646" y="1102892"/>
                  <a:pt x="1851365" y="1103149"/>
                  <a:pt x="1848502" y="1105744"/>
                </a:cubicBezTo>
                <a:cubicBezTo>
                  <a:pt x="1845674" y="1108113"/>
                  <a:pt x="1844825" y="1112106"/>
                  <a:pt x="1846444" y="1115421"/>
                </a:cubicBezTo>
                <a:cubicBezTo>
                  <a:pt x="1874448" y="1175033"/>
                  <a:pt x="1966387" y="1245867"/>
                  <a:pt x="2055239" y="1314334"/>
                </a:cubicBezTo>
                <a:cubicBezTo>
                  <a:pt x="2127308" y="1369621"/>
                  <a:pt x="2194641" y="1421716"/>
                  <a:pt x="2219350" y="1461046"/>
                </a:cubicBezTo>
                <a:cubicBezTo>
                  <a:pt x="2229646" y="1477828"/>
                  <a:pt x="2218526" y="1535175"/>
                  <a:pt x="2204216" y="1607861"/>
                </a:cubicBezTo>
                <a:cubicBezTo>
                  <a:pt x="2201848" y="1620011"/>
                  <a:pt x="2199275" y="1632777"/>
                  <a:pt x="2196700" y="1646161"/>
                </a:cubicBezTo>
                <a:cubicBezTo>
                  <a:pt x="2193817" y="1651514"/>
                  <a:pt x="2194023" y="1662737"/>
                  <a:pt x="2195671" y="1694653"/>
                </a:cubicBezTo>
                <a:cubicBezTo>
                  <a:pt x="2196906" y="1718951"/>
                  <a:pt x="2199377" y="1768370"/>
                  <a:pt x="2193405" y="1778769"/>
                </a:cubicBezTo>
                <a:cubicBezTo>
                  <a:pt x="2152223" y="1790094"/>
                  <a:pt x="2013130" y="1738204"/>
                  <a:pt x="1978330" y="1739440"/>
                </a:cubicBezTo>
                <a:cubicBezTo>
                  <a:pt x="1943325" y="1733880"/>
                  <a:pt x="1942501" y="1642866"/>
                  <a:pt x="1942398" y="1613112"/>
                </a:cubicBezTo>
                <a:cubicBezTo>
                  <a:pt x="1942431" y="1610169"/>
                  <a:pt x="1940851" y="1607443"/>
                  <a:pt x="1938281" y="1606008"/>
                </a:cubicBezTo>
                <a:cubicBezTo>
                  <a:pt x="1935776" y="1604511"/>
                  <a:pt x="1932651" y="1604512"/>
                  <a:pt x="1930147" y="1606008"/>
                </a:cubicBezTo>
                <a:cubicBezTo>
                  <a:pt x="1901628" y="1622790"/>
                  <a:pt x="1901525" y="1652132"/>
                  <a:pt x="1906982" y="1678078"/>
                </a:cubicBezTo>
                <a:cubicBezTo>
                  <a:pt x="1874144" y="1656012"/>
                  <a:pt x="1838872" y="1637806"/>
                  <a:pt x="1801864" y="1623820"/>
                </a:cubicBezTo>
                <a:lnTo>
                  <a:pt x="1792289" y="1629071"/>
                </a:lnTo>
                <a:cubicBezTo>
                  <a:pt x="1797436" y="1647603"/>
                  <a:pt x="1877742" y="1685285"/>
                  <a:pt x="1915836" y="1702375"/>
                </a:cubicBezTo>
                <a:cubicBezTo>
                  <a:pt x="1915164" y="1704168"/>
                  <a:pt x="1915164" y="1706143"/>
                  <a:pt x="1915836" y="1707935"/>
                </a:cubicBezTo>
                <a:lnTo>
                  <a:pt x="1841296" y="1679519"/>
                </a:lnTo>
                <a:cubicBezTo>
                  <a:pt x="1845825" y="1693521"/>
                  <a:pt x="1876712" y="1700831"/>
                  <a:pt x="1878669" y="1712259"/>
                </a:cubicBezTo>
                <a:cubicBezTo>
                  <a:pt x="1817410" y="1699493"/>
                  <a:pt x="1837487" y="1701963"/>
                  <a:pt x="1832647" y="1696403"/>
                </a:cubicBezTo>
                <a:cubicBezTo>
                  <a:pt x="1830176" y="1665517"/>
                  <a:pt x="1798466" y="1698978"/>
                  <a:pt x="1796716" y="1697845"/>
                </a:cubicBezTo>
                <a:cubicBezTo>
                  <a:pt x="1773858" y="1682504"/>
                  <a:pt x="1748841" y="1692904"/>
                  <a:pt x="1739267" y="1690741"/>
                </a:cubicBezTo>
                <a:cubicBezTo>
                  <a:pt x="1732368" y="1689093"/>
                  <a:pt x="1723102" y="1707626"/>
                  <a:pt x="1681919" y="1690740"/>
                </a:cubicBezTo>
                <a:cubicBezTo>
                  <a:pt x="1638575" y="1681887"/>
                  <a:pt x="1671623" y="1661296"/>
                  <a:pt x="1666786" y="1654604"/>
                </a:cubicBezTo>
                <a:lnTo>
                  <a:pt x="1665858" y="1653368"/>
                </a:lnTo>
                <a:cubicBezTo>
                  <a:pt x="1675238" y="1644133"/>
                  <a:pt x="1679638" y="1630971"/>
                  <a:pt x="1677698" y="1617952"/>
                </a:cubicBezTo>
                <a:cubicBezTo>
                  <a:pt x="1674404" y="1601272"/>
                  <a:pt x="1658446" y="1586446"/>
                  <a:pt x="1633942" y="1576769"/>
                </a:cubicBezTo>
                <a:cubicBezTo>
                  <a:pt x="1632575" y="1575637"/>
                  <a:pt x="1631270" y="1574434"/>
                  <a:pt x="1630029" y="1573165"/>
                </a:cubicBezTo>
                <a:cubicBezTo>
                  <a:pt x="1638974" y="1574993"/>
                  <a:pt x="1647495" y="1578485"/>
                  <a:pt x="1655151" y="1583461"/>
                </a:cubicBezTo>
                <a:cubicBezTo>
                  <a:pt x="1671496" y="1592815"/>
                  <a:pt x="1682820" y="1608970"/>
                  <a:pt x="1686037" y="1627526"/>
                </a:cubicBezTo>
                <a:cubicBezTo>
                  <a:pt x="1686259" y="1630101"/>
                  <a:pt x="1687771" y="1632388"/>
                  <a:pt x="1690053" y="1633601"/>
                </a:cubicBezTo>
                <a:cubicBezTo>
                  <a:pt x="1692344" y="1634791"/>
                  <a:pt x="1695072" y="1634791"/>
                  <a:pt x="1697363" y="1633601"/>
                </a:cubicBezTo>
                <a:cubicBezTo>
                  <a:pt x="1705115" y="1630948"/>
                  <a:pt x="1713646" y="1631892"/>
                  <a:pt x="1720631" y="1636174"/>
                </a:cubicBezTo>
                <a:cubicBezTo>
                  <a:pt x="1735654" y="1643972"/>
                  <a:pt x="1746820" y="1657594"/>
                  <a:pt x="1751518" y="1673856"/>
                </a:cubicBezTo>
                <a:cubicBezTo>
                  <a:pt x="1752302" y="1678001"/>
                  <a:pt x="1756193" y="1680806"/>
                  <a:pt x="1760372" y="1680239"/>
                </a:cubicBezTo>
                <a:cubicBezTo>
                  <a:pt x="1764483" y="1679816"/>
                  <a:pt x="1767600" y="1676341"/>
                  <a:pt x="1767579" y="1672209"/>
                </a:cubicBezTo>
                <a:cubicBezTo>
                  <a:pt x="1767579" y="1255030"/>
                  <a:pt x="1788170" y="616187"/>
                  <a:pt x="1828528" y="254193"/>
                </a:cubicBezTo>
                <a:cubicBezTo>
                  <a:pt x="1828878" y="252878"/>
                  <a:pt x="1828878" y="251494"/>
                  <a:pt x="1828529" y="250178"/>
                </a:cubicBezTo>
                <a:cubicBezTo>
                  <a:pt x="1826984" y="245880"/>
                  <a:pt x="1822792" y="243114"/>
                  <a:pt x="1818234" y="243383"/>
                </a:cubicBezTo>
                <a:cubicBezTo>
                  <a:pt x="1802481" y="245340"/>
                  <a:pt x="1790745" y="302583"/>
                  <a:pt x="1720116" y="823644"/>
                </a:cubicBezTo>
                <a:cubicBezTo>
                  <a:pt x="1699525" y="975917"/>
                  <a:pt x="1679655" y="1121496"/>
                  <a:pt x="1666682" y="1199434"/>
                </a:cubicBezTo>
                <a:cubicBezTo>
                  <a:pt x="1649077" y="1040985"/>
                  <a:pt x="1671006" y="847324"/>
                  <a:pt x="1692318" y="659532"/>
                </a:cubicBezTo>
                <a:cubicBezTo>
                  <a:pt x="1717440" y="438382"/>
                  <a:pt x="1743281" y="209819"/>
                  <a:pt x="1705085" y="36647"/>
                </a:cubicBezTo>
                <a:cubicBezTo>
                  <a:pt x="1704057" y="32274"/>
                  <a:pt x="1699679" y="29562"/>
                  <a:pt x="1695307" y="30589"/>
                </a:cubicBezTo>
                <a:cubicBezTo>
                  <a:pt x="1691176" y="31560"/>
                  <a:pt x="1688486" y="35541"/>
                  <a:pt x="1689127" y="39735"/>
                </a:cubicBezTo>
                <a:cubicBezTo>
                  <a:pt x="1699422" y="100480"/>
                  <a:pt x="1677904" y="285183"/>
                  <a:pt x="1657519" y="463915"/>
                </a:cubicBezTo>
                <a:cubicBezTo>
                  <a:pt x="1641046" y="607230"/>
                  <a:pt x="1625499" y="742720"/>
                  <a:pt x="1626632" y="811496"/>
                </a:cubicBezTo>
                <a:cubicBezTo>
                  <a:pt x="1626734" y="814939"/>
                  <a:pt x="1628942" y="817967"/>
                  <a:pt x="1632192" y="819114"/>
                </a:cubicBezTo>
                <a:cubicBezTo>
                  <a:pt x="1633276" y="819365"/>
                  <a:pt x="1634403" y="819365"/>
                  <a:pt x="1635486" y="819114"/>
                </a:cubicBezTo>
                <a:cubicBezTo>
                  <a:pt x="1633736" y="828277"/>
                  <a:pt x="1631883" y="836925"/>
                  <a:pt x="1630133" y="844957"/>
                </a:cubicBezTo>
                <a:cubicBezTo>
                  <a:pt x="1605217" y="731705"/>
                  <a:pt x="1614175" y="598788"/>
                  <a:pt x="1622823" y="469475"/>
                </a:cubicBezTo>
                <a:cubicBezTo>
                  <a:pt x="1632295" y="326365"/>
                  <a:pt x="1642178" y="178418"/>
                  <a:pt x="1607071" y="55179"/>
                </a:cubicBezTo>
                <a:cubicBezTo>
                  <a:pt x="1605932" y="51475"/>
                  <a:pt x="1602392" y="49044"/>
                  <a:pt x="1598525" y="49311"/>
                </a:cubicBezTo>
                <a:cubicBezTo>
                  <a:pt x="1594614" y="49640"/>
                  <a:pt x="1591496" y="52715"/>
                  <a:pt x="1591113" y="56620"/>
                </a:cubicBezTo>
                <a:cubicBezTo>
                  <a:pt x="1582052" y="143515"/>
                  <a:pt x="1581640" y="238853"/>
                  <a:pt x="1581331" y="331102"/>
                </a:cubicBezTo>
                <a:cubicBezTo>
                  <a:pt x="1581332" y="388139"/>
                  <a:pt x="1581332" y="446515"/>
                  <a:pt x="1578552" y="503142"/>
                </a:cubicBezTo>
                <a:cubicBezTo>
                  <a:pt x="1574742" y="431072"/>
                  <a:pt x="1574640" y="342118"/>
                  <a:pt x="1574433" y="255120"/>
                </a:cubicBezTo>
                <a:cubicBezTo>
                  <a:pt x="1574433" y="160606"/>
                  <a:pt x="1574433" y="71241"/>
                  <a:pt x="1569388" y="7305"/>
                </a:cubicBezTo>
                <a:cubicBezTo>
                  <a:pt x="1568930" y="2837"/>
                  <a:pt x="1564936" y="-415"/>
                  <a:pt x="1560468" y="42"/>
                </a:cubicBezTo>
                <a:cubicBezTo>
                  <a:pt x="1557096" y="388"/>
                  <a:pt x="1554290" y="2790"/>
                  <a:pt x="1553430" y="6070"/>
                </a:cubicBezTo>
                <a:cubicBezTo>
                  <a:pt x="1512866" y="178727"/>
                  <a:pt x="1498143" y="395552"/>
                  <a:pt x="1510806" y="604554"/>
                </a:cubicBezTo>
                <a:cubicBezTo>
                  <a:pt x="1503216" y="493967"/>
                  <a:pt x="1488914" y="383945"/>
                  <a:pt x="1467977" y="275094"/>
                </a:cubicBezTo>
                <a:cubicBezTo>
                  <a:pt x="1467202" y="271067"/>
                  <a:pt x="1463519" y="268271"/>
                  <a:pt x="1459431" y="268607"/>
                </a:cubicBezTo>
                <a:cubicBezTo>
                  <a:pt x="1455356" y="268958"/>
                  <a:pt x="1452155" y="272247"/>
                  <a:pt x="1451916" y="276329"/>
                </a:cubicBezTo>
                <a:cubicBezTo>
                  <a:pt x="1435237" y="573357"/>
                  <a:pt x="1451916" y="685066"/>
                  <a:pt x="1471272" y="814379"/>
                </a:cubicBezTo>
                <a:cubicBezTo>
                  <a:pt x="1475286" y="841250"/>
                  <a:pt x="1479404" y="868636"/>
                  <a:pt x="1483420" y="898699"/>
                </a:cubicBezTo>
                <a:cubicBezTo>
                  <a:pt x="1481152" y="896509"/>
                  <a:pt x="1477822" y="895827"/>
                  <a:pt x="1474875" y="896949"/>
                </a:cubicBezTo>
                <a:cubicBezTo>
                  <a:pt x="1471580" y="898160"/>
                  <a:pt x="1469453" y="901371"/>
                  <a:pt x="1469624" y="904876"/>
                </a:cubicBezTo>
                <a:lnTo>
                  <a:pt x="1475801" y="1056016"/>
                </a:lnTo>
                <a:cubicBezTo>
                  <a:pt x="1475802" y="1058693"/>
                  <a:pt x="1506689" y="1305376"/>
                  <a:pt x="1534486" y="1466709"/>
                </a:cubicBezTo>
                <a:cubicBezTo>
                  <a:pt x="1472713" y="1381357"/>
                  <a:pt x="1420617" y="1307127"/>
                  <a:pt x="1375110" y="1231556"/>
                </a:cubicBezTo>
                <a:cubicBezTo>
                  <a:pt x="1236222" y="827660"/>
                  <a:pt x="1107424" y="530425"/>
                  <a:pt x="1069124" y="524762"/>
                </a:cubicBezTo>
                <a:cubicBezTo>
                  <a:pt x="1064778" y="523997"/>
                  <a:pt x="1060386" y="525851"/>
                  <a:pt x="1057902" y="529499"/>
                </a:cubicBezTo>
                <a:cubicBezTo>
                  <a:pt x="1038341" y="556473"/>
                  <a:pt x="1117205" y="786271"/>
                  <a:pt x="1263815" y="1103376"/>
                </a:cubicBezTo>
                <a:cubicBezTo>
                  <a:pt x="1118647" y="850515"/>
                  <a:pt x="993966" y="628439"/>
                  <a:pt x="925398" y="342015"/>
                </a:cubicBezTo>
                <a:cubicBezTo>
                  <a:pt x="924455" y="338123"/>
                  <a:pt x="920849" y="335472"/>
                  <a:pt x="916853" y="335735"/>
                </a:cubicBezTo>
                <a:cubicBezTo>
                  <a:pt x="907625" y="336303"/>
                  <a:pt x="899447" y="341873"/>
                  <a:pt x="895541" y="350251"/>
                </a:cubicBezTo>
                <a:cubicBezTo>
                  <a:pt x="867948" y="405539"/>
                  <a:pt x="971007" y="639147"/>
                  <a:pt x="1062329" y="825498"/>
                </a:cubicBezTo>
                <a:cubicBezTo>
                  <a:pt x="1155607" y="1015966"/>
                  <a:pt x="1279155" y="1241955"/>
                  <a:pt x="1373669" y="1396183"/>
                </a:cubicBezTo>
                <a:cubicBezTo>
                  <a:pt x="1094555" y="1151354"/>
                  <a:pt x="790216" y="774328"/>
                  <a:pt x="511925" y="327807"/>
                </a:cubicBezTo>
                <a:cubicBezTo>
                  <a:pt x="509576" y="323980"/>
                  <a:pt x="504567" y="322782"/>
                  <a:pt x="500738" y="325133"/>
                </a:cubicBezTo>
                <a:cubicBezTo>
                  <a:pt x="497597" y="327063"/>
                  <a:pt x="496146" y="330864"/>
                  <a:pt x="497204" y="334396"/>
                </a:cubicBezTo>
                <a:cubicBezTo>
                  <a:pt x="590790" y="651502"/>
                  <a:pt x="862492" y="933087"/>
                  <a:pt x="1125236" y="1205406"/>
                </a:cubicBezTo>
                <a:cubicBezTo>
                  <a:pt x="1173934" y="1255854"/>
                  <a:pt x="1220676" y="1304244"/>
                  <a:pt x="1265462" y="1352118"/>
                </a:cubicBezTo>
                <a:cubicBezTo>
                  <a:pt x="875876" y="1078152"/>
                  <a:pt x="581319" y="654487"/>
                  <a:pt x="296026" y="244207"/>
                </a:cubicBezTo>
                <a:lnTo>
                  <a:pt x="243622" y="168740"/>
                </a:lnTo>
                <a:cubicBezTo>
                  <a:pt x="241327" y="165413"/>
                  <a:pt x="236918" y="164311"/>
                  <a:pt x="233327" y="166165"/>
                </a:cubicBezTo>
                <a:close/>
              </a:path>
            </a:pathLst>
          </a:custGeom>
          <a:solidFill>
            <a:schemeClr val="accent3">
              <a:lumMod val="40000"/>
              <a:lumOff val="60000"/>
              <a:alpha val="82000"/>
            </a:schemeClr>
          </a:solidFill>
          <a:ln w="9525"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40670135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losin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44DF764D-A077-4BED-ABF1-8DF341BC85D7}"/>
              </a:ext>
            </a:extLst>
          </p:cNvPr>
          <p:cNvSpPr>
            <a:spLocks noGrp="1"/>
          </p:cNvSpPr>
          <p:nvPr>
            <p:ph type="pic" sz="quarter" idx="10"/>
          </p:nvPr>
        </p:nvSpPr>
        <p:spPr>
          <a:xfrm>
            <a:off x="458724" y="411480"/>
            <a:ext cx="11274552" cy="5870448"/>
          </a:xfrm>
          <a:solidFill>
            <a:schemeClr val="accent1"/>
          </a:solidFill>
        </p:spPr>
        <p:txBody>
          <a:bodyPr/>
          <a:lstStyle/>
          <a:p>
            <a:endParaRPr lang="en-US"/>
          </a:p>
        </p:txBody>
      </p:sp>
      <p:sp>
        <p:nvSpPr>
          <p:cNvPr id="2" name="Title 1">
            <a:extLst>
              <a:ext uri="{FF2B5EF4-FFF2-40B4-BE49-F238E27FC236}">
                <a16:creationId xmlns:a16="http://schemas.microsoft.com/office/drawing/2014/main" id="{494248F2-5264-4601-AA0B-6C092F77F2DD}"/>
              </a:ext>
            </a:extLst>
          </p:cNvPr>
          <p:cNvSpPr>
            <a:spLocks noGrp="1"/>
          </p:cNvSpPr>
          <p:nvPr>
            <p:ph type="ctrTitle" hasCustomPrompt="1"/>
          </p:nvPr>
        </p:nvSpPr>
        <p:spPr>
          <a:xfrm>
            <a:off x="457201" y="3490624"/>
            <a:ext cx="4571999" cy="1235382"/>
          </a:xfrm>
          <a:solidFill>
            <a:schemeClr val="bg1">
              <a:alpha val="80000"/>
            </a:schemeClr>
          </a:solidFill>
        </p:spPr>
        <p:txBody>
          <a:bodyPr lIns="457200" bIns="137160" anchor="b">
            <a:normAutofit/>
          </a:bodyPr>
          <a:lstStyle>
            <a:lvl1pPr algn="l">
              <a:defRPr sz="3600">
                <a:solidFill>
                  <a:schemeClr val="bg2">
                    <a:lumMod val="25000"/>
                  </a:schemeClr>
                </a:solidFill>
              </a:defRPr>
            </a:lvl1pPr>
          </a:lstStyle>
          <a:p>
            <a:r>
              <a:rPr lang="en-US"/>
              <a:t>ADD TITLE</a:t>
            </a:r>
          </a:p>
        </p:txBody>
      </p:sp>
      <p:sp>
        <p:nvSpPr>
          <p:cNvPr id="3" name="Subtitle 2">
            <a:extLst>
              <a:ext uri="{FF2B5EF4-FFF2-40B4-BE49-F238E27FC236}">
                <a16:creationId xmlns:a16="http://schemas.microsoft.com/office/drawing/2014/main" id="{DCFB69D3-5632-4285-A209-9DCA67DA668C}"/>
              </a:ext>
            </a:extLst>
          </p:cNvPr>
          <p:cNvSpPr>
            <a:spLocks noGrp="1"/>
          </p:cNvSpPr>
          <p:nvPr>
            <p:ph type="subTitle" idx="1"/>
          </p:nvPr>
        </p:nvSpPr>
        <p:spPr>
          <a:xfrm>
            <a:off x="457199" y="4726007"/>
            <a:ext cx="4571999" cy="1314432"/>
          </a:xfrm>
          <a:solidFill>
            <a:schemeClr val="bg1">
              <a:alpha val="80000"/>
            </a:schemeClr>
          </a:solidFill>
        </p:spPr>
        <p:txBody>
          <a:bodyPr lIns="502920" rIns="2103120">
            <a:normAutofit/>
          </a:bodyPr>
          <a:lstStyle>
            <a:lvl1pPr marL="0" indent="0" algn="l">
              <a:buNone/>
              <a:defRPr sz="1400" spc="40" baseline="0">
                <a:solidFill>
                  <a:schemeClr val="bg2">
                    <a:lumMod val="25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5FC7B35-BCD3-4E41-916B-68490D92D902}"/>
              </a:ext>
            </a:extLst>
          </p:cNvPr>
          <p:cNvSpPr>
            <a:spLocks noGrp="1"/>
          </p:cNvSpPr>
          <p:nvPr>
            <p:ph type="dt" sz="half" idx="11"/>
          </p:nvPr>
        </p:nvSpPr>
        <p:spPr/>
        <p:txBody>
          <a:bodyPr/>
          <a:lstStyle/>
          <a:p>
            <a:r>
              <a:rPr lang="en-US"/>
              <a:t>20XX</a:t>
            </a:r>
          </a:p>
        </p:txBody>
      </p:sp>
      <p:sp>
        <p:nvSpPr>
          <p:cNvPr id="6" name="Footer Placeholder 5">
            <a:extLst>
              <a:ext uri="{FF2B5EF4-FFF2-40B4-BE49-F238E27FC236}">
                <a16:creationId xmlns:a16="http://schemas.microsoft.com/office/drawing/2014/main" id="{2703212D-BCAC-4F13-92C1-13A3004266E3}"/>
              </a:ext>
            </a:extLst>
          </p:cNvPr>
          <p:cNvSpPr>
            <a:spLocks noGrp="1"/>
          </p:cNvSpPr>
          <p:nvPr>
            <p:ph type="ftr" sz="quarter" idx="12"/>
          </p:nvPr>
        </p:nvSpPr>
        <p:spPr/>
        <p:txBody>
          <a:bodyPr/>
          <a:lstStyle/>
          <a:p>
            <a:r>
              <a:rPr lang="en-US"/>
              <a:t>Presentation title</a:t>
            </a:r>
          </a:p>
        </p:txBody>
      </p:sp>
      <p:sp>
        <p:nvSpPr>
          <p:cNvPr id="7" name="Slide Number Placeholder 6">
            <a:extLst>
              <a:ext uri="{FF2B5EF4-FFF2-40B4-BE49-F238E27FC236}">
                <a16:creationId xmlns:a16="http://schemas.microsoft.com/office/drawing/2014/main" id="{D6D73FEF-4AED-4E29-A73E-9166ADC8D5CE}"/>
              </a:ext>
            </a:extLst>
          </p:cNvPr>
          <p:cNvSpPr>
            <a:spLocks noGrp="1"/>
          </p:cNvSpPr>
          <p:nvPr>
            <p:ph type="sldNum" sz="quarter" idx="13"/>
          </p:nvPr>
        </p:nvSpPr>
        <p:spPr/>
        <p:txBody>
          <a:bodyPr/>
          <a:lstStyle/>
          <a:p>
            <a:fld id="{294A09A9-5501-47C1-A89A-A340965A2BE2}" type="slidenum">
              <a:rPr lang="en-US" smtClean="0"/>
              <a:pPr/>
              <a:t>‹#›</a:t>
            </a:fld>
            <a:endParaRPr lang="en-US"/>
          </a:p>
        </p:txBody>
      </p:sp>
    </p:spTree>
    <p:extLst>
      <p:ext uri="{BB962C8B-B14F-4D97-AF65-F5344CB8AC3E}">
        <p14:creationId xmlns:p14="http://schemas.microsoft.com/office/powerpoint/2010/main" val="40606681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Inside Slide">
    <p:spTree>
      <p:nvGrpSpPr>
        <p:cNvPr id="1" name=""/>
        <p:cNvGrpSpPr/>
        <p:nvPr/>
      </p:nvGrpSpPr>
      <p:grpSpPr>
        <a:xfrm>
          <a:off x="0" y="0"/>
          <a:ext cx="0" cy="0"/>
          <a:chOff x="0" y="0"/>
          <a:chExt cx="0" cy="0"/>
        </a:xfrm>
      </p:grpSpPr>
      <p:sp>
        <p:nvSpPr>
          <p:cNvPr id="10" name="Content Placeholder 9"/>
          <p:cNvSpPr>
            <a:spLocks noGrp="1"/>
          </p:cNvSpPr>
          <p:nvPr>
            <p:ph sz="quarter" idx="14"/>
          </p:nvPr>
        </p:nvSpPr>
        <p:spPr>
          <a:xfrm>
            <a:off x="609600" y="1111827"/>
            <a:ext cx="11074400" cy="5074920"/>
          </a:xfrm>
          <a:prstGeom prst="rect">
            <a:avLst/>
          </a:prstGeom>
        </p:spPr>
        <p:txBody>
          <a:bodyPr/>
          <a:lstStyle>
            <a:lvl1pPr marR="0" algn="l" defTabSz="914400" rtl="0" eaLnBrk="1" fontAlgn="auto" latinLnBrk="0" hangingPunct="1">
              <a:lnSpc>
                <a:spcPct val="100000"/>
              </a:lnSpc>
              <a:spcBef>
                <a:spcPct val="20000"/>
              </a:spcBef>
              <a:spcAft>
                <a:spcPts val="0"/>
              </a:spcAft>
              <a:buSzTx/>
              <a:buNone/>
              <a:tabLst/>
              <a:defRPr kumimoji="0" lang="en-US" sz="1800" b="0" i="0" u="none" strike="noStrike" kern="1200" cap="none" spc="0" normalizeH="0" baseline="0" noProof="0" dirty="0" smtClean="0">
                <a:ln>
                  <a:noFill/>
                </a:ln>
                <a:solidFill>
                  <a:schemeClr val="tx1"/>
                </a:solidFill>
                <a:effectLst/>
                <a:uLnTx/>
                <a:uFillTx/>
                <a:latin typeface="Palatino Linotype" pitchFamily="18" charset="0"/>
                <a:ea typeface="+mn-ea"/>
                <a:cs typeface="+mn-cs"/>
              </a:defRPr>
            </a:lvl1pPr>
            <a:lvl2pPr marR="0" indent="-274320" algn="l" defTabSz="914400" rtl="0" eaLnBrk="1" fontAlgn="auto" latinLnBrk="0" hangingPunct="1">
              <a:lnSpc>
                <a:spcPct val="100000"/>
              </a:lnSpc>
              <a:spcBef>
                <a:spcPct val="20000"/>
              </a:spcBef>
              <a:spcAft>
                <a:spcPts val="0"/>
              </a:spcAft>
              <a:buClr>
                <a:srgbClr val="0D5065"/>
              </a:buClr>
              <a:buSzTx/>
              <a:buFont typeface="Wingdings" pitchFamily="2" charset="2"/>
              <a:buChar char="§"/>
              <a:tabLst/>
              <a:defRPr kumimoji="0" lang="en-US" sz="1800" b="0" i="0" u="none" strike="noStrike" kern="1200" cap="none" spc="0" normalizeH="0" baseline="0" noProof="0" dirty="0" smtClean="0">
                <a:ln>
                  <a:noFill/>
                </a:ln>
                <a:solidFill>
                  <a:schemeClr val="tx1"/>
                </a:solidFill>
                <a:effectLst/>
                <a:uLnTx/>
                <a:uFillTx/>
                <a:latin typeface="Palatino Linotype" pitchFamily="18" charset="0"/>
                <a:ea typeface="+mn-ea"/>
                <a:cs typeface="+mn-cs"/>
              </a:defRPr>
            </a:lvl2pPr>
            <a:lvl3pPr marR="0" indent="-274320" algn="l" defTabSz="914400" rtl="0" eaLnBrk="1" fontAlgn="auto" latinLnBrk="0" hangingPunct="1">
              <a:lnSpc>
                <a:spcPct val="100000"/>
              </a:lnSpc>
              <a:spcBef>
                <a:spcPct val="20000"/>
              </a:spcBef>
              <a:spcAft>
                <a:spcPts val="0"/>
              </a:spcAft>
              <a:buClr>
                <a:srgbClr val="556570"/>
              </a:buClr>
              <a:buSzTx/>
              <a:buFont typeface="Wingdings" pitchFamily="2" charset="2"/>
              <a:buChar char="§"/>
              <a:tabLst/>
              <a:defRPr kumimoji="0" lang="en-US" sz="1800" b="0" i="0" u="none" strike="noStrike" kern="1200" cap="none" spc="0" normalizeH="0" baseline="0" noProof="0" dirty="0" smtClean="0">
                <a:ln>
                  <a:noFill/>
                </a:ln>
                <a:solidFill>
                  <a:schemeClr val="tx1"/>
                </a:solidFill>
                <a:effectLst/>
                <a:uLnTx/>
                <a:uFillTx/>
                <a:latin typeface="Palatino Linotype" pitchFamily="18" charset="0"/>
                <a:ea typeface="+mn-ea"/>
                <a:cs typeface="+mn-cs"/>
              </a:defRPr>
            </a:lvl3pPr>
            <a:lvl4pPr marR="0" indent="-274320" algn="l" defTabSz="914400" rtl="0" eaLnBrk="1" fontAlgn="auto" latinLnBrk="0" hangingPunct="1">
              <a:lnSpc>
                <a:spcPct val="100000"/>
              </a:lnSpc>
              <a:spcBef>
                <a:spcPct val="20000"/>
              </a:spcBef>
              <a:spcAft>
                <a:spcPts val="0"/>
              </a:spcAft>
              <a:buClr>
                <a:schemeClr val="bg1">
                  <a:lumMod val="50000"/>
                </a:schemeClr>
              </a:buClr>
              <a:buSzTx/>
              <a:buFont typeface="Wingdings" pitchFamily="2" charset="2"/>
              <a:buChar char="§"/>
              <a:tabLst/>
              <a:defRPr kumimoji="0" lang="en-US" sz="1800" b="0" i="0" u="none" strike="noStrike" kern="1200" cap="none" spc="0" normalizeH="0" baseline="0" noProof="0" dirty="0" smtClean="0">
                <a:ln>
                  <a:noFill/>
                </a:ln>
                <a:solidFill>
                  <a:schemeClr val="tx1"/>
                </a:solidFill>
                <a:effectLst/>
                <a:uLnTx/>
                <a:uFillTx/>
                <a:latin typeface="Palatino Linotype" pitchFamily="18" charset="0"/>
                <a:ea typeface="+mn-ea"/>
                <a:cs typeface="+mn-cs"/>
              </a:defRPr>
            </a:lvl4pPr>
            <a:lvl5pPr marR="0" indent="-274320" algn="l" defTabSz="914400" rtl="0" eaLnBrk="1" fontAlgn="auto" latinLnBrk="0" hangingPunct="1">
              <a:lnSpc>
                <a:spcPct val="100000"/>
              </a:lnSpc>
              <a:spcBef>
                <a:spcPct val="20000"/>
              </a:spcBef>
              <a:spcAft>
                <a:spcPts val="0"/>
              </a:spcAft>
              <a:buClr>
                <a:schemeClr val="bg1">
                  <a:lumMod val="75000"/>
                </a:schemeClr>
              </a:buClr>
              <a:buSzTx/>
              <a:buFont typeface="Wingdings" pitchFamily="2" charset="2"/>
              <a:buChar char="§"/>
              <a:tabLst/>
              <a:defRPr kumimoji="0" lang="en-US" sz="1800" b="0" i="0" u="none" strike="noStrike" kern="1200" cap="none" spc="0" normalizeH="0" baseline="0" noProof="0" dirty="0" smtClean="0">
                <a:ln>
                  <a:noFill/>
                </a:ln>
                <a:solidFill>
                  <a:schemeClr val="tx1"/>
                </a:solidFill>
                <a:effectLst/>
                <a:uLnTx/>
                <a:uFillTx/>
                <a:latin typeface="Palatino Linotype" pitchFamily="18" charset="0"/>
                <a:ea typeface="+mn-ea"/>
                <a:cs typeface="+mn-cs"/>
              </a:defRPr>
            </a:lvl5pPr>
          </a:lstStyle>
          <a:p>
            <a:pPr lvl="0"/>
            <a:r>
              <a:rPr lang="en-US"/>
              <a:t>Click to edit</a:t>
            </a:r>
          </a:p>
          <a:p>
            <a:r>
              <a:rPr lang="en-US"/>
              <a:t>Level 1</a:t>
            </a:r>
          </a:p>
          <a:p>
            <a:pPr lvl="1"/>
            <a:r>
              <a:rPr lang="en-US"/>
              <a:t>Level 2</a:t>
            </a:r>
          </a:p>
          <a:p>
            <a:pPr lvl="2"/>
            <a:r>
              <a:rPr lang="en-US"/>
              <a:t>Level 3</a:t>
            </a:r>
          </a:p>
          <a:p>
            <a:pPr lvl="3"/>
            <a:r>
              <a:rPr lang="en-US"/>
              <a:t>Level  4</a:t>
            </a:r>
          </a:p>
          <a:p>
            <a:pPr lvl="4"/>
            <a:r>
              <a:rPr lang="en-US"/>
              <a:t>Level 5</a:t>
            </a:r>
          </a:p>
        </p:txBody>
      </p:sp>
      <p:sp>
        <p:nvSpPr>
          <p:cNvPr id="8" name="Text Placeholder 4"/>
          <p:cNvSpPr>
            <a:spLocks noGrp="1"/>
          </p:cNvSpPr>
          <p:nvPr>
            <p:ph type="body" sz="quarter" idx="15"/>
          </p:nvPr>
        </p:nvSpPr>
        <p:spPr>
          <a:xfrm>
            <a:off x="609600" y="131618"/>
            <a:ext cx="11074400" cy="858982"/>
          </a:xfrm>
          <a:prstGeom prst="rect">
            <a:avLst/>
          </a:prstGeom>
        </p:spPr>
        <p:txBody>
          <a:bodyPr/>
          <a:lstStyle>
            <a:lvl1pPr>
              <a:buNone/>
              <a:defRPr sz="2000">
                <a:solidFill>
                  <a:srgbClr val="993333"/>
                </a:solidFill>
              </a:defRPr>
            </a:lvl1pPr>
          </a:lstStyle>
          <a:p>
            <a:pPr lvl="0"/>
            <a:r>
              <a:rPr lang="en-US"/>
              <a:t>Edit Master text styles</a:t>
            </a:r>
          </a:p>
          <a:p>
            <a:pPr lvl="1"/>
            <a:r>
              <a:rPr lang="en-US"/>
              <a:t>Second level</a:t>
            </a:r>
          </a:p>
        </p:txBody>
      </p:sp>
      <p:sp>
        <p:nvSpPr>
          <p:cNvPr id="2" name="Slide Number Placeholder 4">
            <a:extLst>
              <a:ext uri="{FF2B5EF4-FFF2-40B4-BE49-F238E27FC236}">
                <a16:creationId xmlns:a16="http://schemas.microsoft.com/office/drawing/2014/main" id="{04800B44-BAB6-D202-F432-8EA42F61B38D}"/>
              </a:ext>
            </a:extLst>
          </p:cNvPr>
          <p:cNvSpPr>
            <a:spLocks noGrp="1"/>
          </p:cNvSpPr>
          <p:nvPr>
            <p:ph type="sldNum" sz="quarter" idx="16"/>
          </p:nvPr>
        </p:nvSpPr>
        <p:spPr>
          <a:xfrm>
            <a:off x="4470400" y="6324601"/>
            <a:ext cx="2844800" cy="365125"/>
          </a:xfrm>
        </p:spPr>
        <p:txBody>
          <a:bodyPr anchor="ctr"/>
          <a:lstStyle>
            <a:lvl1pPr algn="ctr">
              <a:defRPr sz="1000">
                <a:solidFill>
                  <a:srgbClr val="556570"/>
                </a:solidFill>
              </a:defRPr>
            </a:lvl1pPr>
          </a:lstStyle>
          <a:p>
            <a:fld id="{D2CA30D1-6A19-47B2-8C3C-0B96E26185B8}" type="slidenum">
              <a:rPr lang="en-US" altLang="en-US"/>
              <a:pPr/>
              <a:t>‹#›</a:t>
            </a:fld>
            <a:endParaRPr lang="en-US" altLang="en-US"/>
          </a:p>
        </p:txBody>
      </p:sp>
    </p:spTree>
    <p:extLst>
      <p:ext uri="{BB962C8B-B14F-4D97-AF65-F5344CB8AC3E}">
        <p14:creationId xmlns:p14="http://schemas.microsoft.com/office/powerpoint/2010/main" val="36972774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eam_1">
    <p:spTree>
      <p:nvGrpSpPr>
        <p:cNvPr id="1" name=""/>
        <p:cNvGrpSpPr/>
        <p:nvPr/>
      </p:nvGrpSpPr>
      <p:grpSpPr>
        <a:xfrm>
          <a:off x="0" y="0"/>
          <a:ext cx="0" cy="0"/>
          <a:chOff x="0" y="0"/>
          <a:chExt cx="0" cy="0"/>
        </a:xfrm>
      </p:grpSpPr>
      <p:sp>
        <p:nvSpPr>
          <p:cNvPr id="27" name="Picture Placeholder 4">
            <a:extLst>
              <a:ext uri="{FF2B5EF4-FFF2-40B4-BE49-F238E27FC236}">
                <a16:creationId xmlns:a16="http://schemas.microsoft.com/office/drawing/2014/main" id="{693E367C-A9B6-0D4C-A8EE-FC6DEAD41EC5}"/>
              </a:ext>
            </a:extLst>
          </p:cNvPr>
          <p:cNvSpPr>
            <a:spLocks noGrp="1"/>
          </p:cNvSpPr>
          <p:nvPr>
            <p:ph type="pic" sz="quarter" idx="37"/>
          </p:nvPr>
        </p:nvSpPr>
        <p:spPr>
          <a:xfrm>
            <a:off x="4380644" y="1727881"/>
            <a:ext cx="2485203" cy="3444477"/>
          </a:xfrm>
          <a:prstGeom prst="rect">
            <a:avLst/>
          </a:prstGeom>
          <a:solidFill>
            <a:schemeClr val="bg1">
              <a:lumMod val="50000"/>
            </a:schemeClr>
          </a:solidFill>
        </p:spPr>
        <p:txBody>
          <a:bodyPr/>
          <a:lstStyle/>
          <a:p>
            <a:endParaRPr lang="en-US"/>
          </a:p>
        </p:txBody>
      </p:sp>
      <p:sp>
        <p:nvSpPr>
          <p:cNvPr id="7" name="Rectangle 6">
            <a:extLst>
              <a:ext uri="{FF2B5EF4-FFF2-40B4-BE49-F238E27FC236}">
                <a16:creationId xmlns:a16="http://schemas.microsoft.com/office/drawing/2014/main" id="{C6B38872-77FE-410B-9DC0-A9681AAD520B}"/>
              </a:ext>
            </a:extLst>
          </p:cNvPr>
          <p:cNvSpPr/>
          <p:nvPr userDrawn="1"/>
        </p:nvSpPr>
        <p:spPr>
          <a:xfrm>
            <a:off x="6864306" y="1727881"/>
            <a:ext cx="98062" cy="2734337"/>
          </a:xfrm>
          <a:prstGeom prst="rect">
            <a:avLst/>
          </a:prstGeom>
          <a:solidFill>
            <a:srgbClr val="8C2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Bold" panose="00000800000000000000" pitchFamily="50" charset="0"/>
            </a:endParaRPr>
          </a:p>
        </p:txBody>
      </p:sp>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597141" y="1727881"/>
            <a:ext cx="2745905" cy="1284426"/>
          </a:xfrm>
          <a:prstGeom prst="rect">
            <a:avLst/>
          </a:prstGeom>
        </p:spPr>
        <p:txBody>
          <a:bodyPr/>
          <a:lstStyle>
            <a:lvl1pPr marL="0" indent="0" algn="l">
              <a:lnSpc>
                <a:spcPct val="100000"/>
              </a:lnSpc>
              <a:buNone/>
              <a:defRPr sz="4400" b="1" i="0" spc="-150">
                <a:latin typeface="Gilroy ExtraBold" panose="00000900000000000000" pitchFamily="50" charset="0"/>
                <a:cs typeface="Gilroy ExtraBold" panose="00000900000000000000" pitchFamily="50" charset="0"/>
              </a:defRPr>
            </a:lvl1pPr>
          </a:lstStyle>
          <a:p>
            <a:pPr lvl="0"/>
            <a:r>
              <a:rPr lang="en-US"/>
              <a:t>Click to edit</a:t>
            </a:r>
          </a:p>
        </p:txBody>
      </p:sp>
      <p:sp>
        <p:nvSpPr>
          <p:cNvPr id="8" name="Text Placeholder 5">
            <a:extLst>
              <a:ext uri="{FF2B5EF4-FFF2-40B4-BE49-F238E27FC236}">
                <a16:creationId xmlns:a16="http://schemas.microsoft.com/office/drawing/2014/main" id="{78030DA6-8C43-474F-8418-31F5AA719F8D}"/>
              </a:ext>
            </a:extLst>
          </p:cNvPr>
          <p:cNvSpPr>
            <a:spLocks noGrp="1"/>
          </p:cNvSpPr>
          <p:nvPr>
            <p:ph type="body" sz="quarter" idx="14"/>
          </p:nvPr>
        </p:nvSpPr>
        <p:spPr>
          <a:xfrm>
            <a:off x="597140" y="3105848"/>
            <a:ext cx="2745905" cy="1346199"/>
          </a:xfrm>
          <a:prstGeom prst="rect">
            <a:avLst/>
          </a:prstGeom>
        </p:spPr>
        <p:txBody>
          <a:bodyPr/>
          <a:lstStyle>
            <a:lvl1pPr marL="0" indent="0">
              <a:lnSpc>
                <a:spcPct val="150000"/>
              </a:lnSpc>
              <a:buNone/>
              <a:defRPr sz="12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a:t>Click to edit</a:t>
            </a:r>
          </a:p>
        </p:txBody>
      </p:sp>
      <p:sp>
        <p:nvSpPr>
          <p:cNvPr id="3" name="Rectangle 2">
            <a:extLst>
              <a:ext uri="{FF2B5EF4-FFF2-40B4-BE49-F238E27FC236}">
                <a16:creationId xmlns:a16="http://schemas.microsoft.com/office/drawing/2014/main" id="{4566A710-BE9B-4106-A50C-C531D8511C5C}"/>
              </a:ext>
            </a:extLst>
          </p:cNvPr>
          <p:cNvSpPr/>
          <p:nvPr userDrawn="1"/>
        </p:nvSpPr>
        <p:spPr>
          <a:xfrm>
            <a:off x="5857137" y="4461705"/>
            <a:ext cx="1972836" cy="9456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Bold" panose="00000800000000000000" pitchFamily="50" charset="0"/>
            </a:endParaRPr>
          </a:p>
        </p:txBody>
      </p:sp>
      <p:sp>
        <p:nvSpPr>
          <p:cNvPr id="41" name="Text Placeholder 5">
            <a:extLst>
              <a:ext uri="{FF2B5EF4-FFF2-40B4-BE49-F238E27FC236}">
                <a16:creationId xmlns:a16="http://schemas.microsoft.com/office/drawing/2014/main" id="{74FF90B2-B1DF-3441-92FA-BFD158D99767}"/>
              </a:ext>
            </a:extLst>
          </p:cNvPr>
          <p:cNvSpPr>
            <a:spLocks noGrp="1"/>
          </p:cNvSpPr>
          <p:nvPr>
            <p:ph type="body" sz="quarter" idx="48"/>
          </p:nvPr>
        </p:nvSpPr>
        <p:spPr>
          <a:xfrm>
            <a:off x="6089528" y="4905561"/>
            <a:ext cx="1756572" cy="246903"/>
          </a:xfrm>
          <a:prstGeom prst="rect">
            <a:avLst/>
          </a:prstGeom>
        </p:spPr>
        <p:txBody>
          <a:bodyPr/>
          <a:lstStyle>
            <a:lvl1pPr marL="0" indent="0">
              <a:lnSpc>
                <a:spcPct val="100000"/>
              </a:lnSpc>
              <a:buNone/>
              <a:defRPr sz="1200" b="0" i="0">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a:t>Click to edit</a:t>
            </a:r>
          </a:p>
        </p:txBody>
      </p:sp>
      <p:sp>
        <p:nvSpPr>
          <p:cNvPr id="42" name="Text Placeholder 5">
            <a:extLst>
              <a:ext uri="{FF2B5EF4-FFF2-40B4-BE49-F238E27FC236}">
                <a16:creationId xmlns:a16="http://schemas.microsoft.com/office/drawing/2014/main" id="{6C32DBF6-A21D-D547-846E-03E26DC3A450}"/>
              </a:ext>
            </a:extLst>
          </p:cNvPr>
          <p:cNvSpPr>
            <a:spLocks noGrp="1"/>
          </p:cNvSpPr>
          <p:nvPr>
            <p:ph type="body" sz="quarter" idx="49"/>
          </p:nvPr>
        </p:nvSpPr>
        <p:spPr>
          <a:xfrm>
            <a:off x="6089525" y="4611062"/>
            <a:ext cx="1756573" cy="290744"/>
          </a:xfrm>
          <a:prstGeom prst="rect">
            <a:avLst/>
          </a:prstGeom>
        </p:spPr>
        <p:txBody>
          <a:bodyPr/>
          <a:lstStyle>
            <a:lvl1pPr marL="0" indent="0">
              <a:lnSpc>
                <a:spcPct val="100000"/>
              </a:lnSpc>
              <a:buNone/>
              <a:defRPr sz="14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a:t>Click to edit</a:t>
            </a:r>
          </a:p>
        </p:txBody>
      </p:sp>
      <p:sp>
        <p:nvSpPr>
          <p:cNvPr id="14" name="Picture Placeholder 4">
            <a:extLst>
              <a:ext uri="{FF2B5EF4-FFF2-40B4-BE49-F238E27FC236}">
                <a16:creationId xmlns:a16="http://schemas.microsoft.com/office/drawing/2014/main" id="{8AE364F0-3E0E-4190-9F56-3E3690A7CA0C}"/>
              </a:ext>
            </a:extLst>
          </p:cNvPr>
          <p:cNvSpPr>
            <a:spLocks noGrp="1"/>
          </p:cNvSpPr>
          <p:nvPr>
            <p:ph type="pic" sz="quarter" idx="50"/>
          </p:nvPr>
        </p:nvSpPr>
        <p:spPr>
          <a:xfrm>
            <a:off x="8129403" y="1727881"/>
            <a:ext cx="2485203" cy="3444477"/>
          </a:xfrm>
          <a:prstGeom prst="rect">
            <a:avLst/>
          </a:prstGeom>
          <a:solidFill>
            <a:schemeClr val="bg1">
              <a:lumMod val="50000"/>
            </a:schemeClr>
          </a:solidFill>
        </p:spPr>
        <p:txBody>
          <a:bodyPr/>
          <a:lstStyle/>
          <a:p>
            <a:endParaRPr lang="en-US"/>
          </a:p>
        </p:txBody>
      </p:sp>
      <p:sp>
        <p:nvSpPr>
          <p:cNvPr id="15" name="Rectangle 14">
            <a:extLst>
              <a:ext uri="{FF2B5EF4-FFF2-40B4-BE49-F238E27FC236}">
                <a16:creationId xmlns:a16="http://schemas.microsoft.com/office/drawing/2014/main" id="{D748CA9B-9392-47A0-B187-8A7E09542226}"/>
              </a:ext>
            </a:extLst>
          </p:cNvPr>
          <p:cNvSpPr/>
          <p:nvPr userDrawn="1"/>
        </p:nvSpPr>
        <p:spPr>
          <a:xfrm>
            <a:off x="10611735" y="1727881"/>
            <a:ext cx="98062" cy="2734337"/>
          </a:xfrm>
          <a:prstGeom prst="rect">
            <a:avLst/>
          </a:prstGeom>
          <a:solidFill>
            <a:srgbClr val="8C2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Bold" panose="00000800000000000000" pitchFamily="50" charset="0"/>
            </a:endParaRPr>
          </a:p>
        </p:txBody>
      </p:sp>
      <p:sp>
        <p:nvSpPr>
          <p:cNvPr id="19" name="Rectangle 18">
            <a:extLst>
              <a:ext uri="{FF2B5EF4-FFF2-40B4-BE49-F238E27FC236}">
                <a16:creationId xmlns:a16="http://schemas.microsoft.com/office/drawing/2014/main" id="{C4F7D89A-372D-4BF3-9BA1-376748F00CA9}"/>
              </a:ext>
            </a:extLst>
          </p:cNvPr>
          <p:cNvSpPr/>
          <p:nvPr userDrawn="1"/>
        </p:nvSpPr>
        <p:spPr>
          <a:xfrm>
            <a:off x="9605896" y="4461720"/>
            <a:ext cx="1972836" cy="9456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ilroy Bold" panose="00000800000000000000" pitchFamily="50" charset="0"/>
            </a:endParaRPr>
          </a:p>
        </p:txBody>
      </p:sp>
      <p:sp>
        <p:nvSpPr>
          <p:cNvPr id="20" name="Text Placeholder 5">
            <a:extLst>
              <a:ext uri="{FF2B5EF4-FFF2-40B4-BE49-F238E27FC236}">
                <a16:creationId xmlns:a16="http://schemas.microsoft.com/office/drawing/2014/main" id="{8F67A582-7946-46A0-859D-A1FA9781E586}"/>
              </a:ext>
            </a:extLst>
          </p:cNvPr>
          <p:cNvSpPr>
            <a:spLocks noGrp="1"/>
          </p:cNvSpPr>
          <p:nvPr>
            <p:ph type="body" sz="quarter" idx="51"/>
          </p:nvPr>
        </p:nvSpPr>
        <p:spPr>
          <a:xfrm>
            <a:off x="9838287" y="4905576"/>
            <a:ext cx="1756572" cy="246903"/>
          </a:xfrm>
          <a:prstGeom prst="rect">
            <a:avLst/>
          </a:prstGeom>
        </p:spPr>
        <p:txBody>
          <a:bodyPr/>
          <a:lstStyle>
            <a:lvl1pPr marL="0" indent="0">
              <a:lnSpc>
                <a:spcPct val="100000"/>
              </a:lnSpc>
              <a:buNone/>
              <a:defRPr sz="1200" b="0" i="0">
                <a:solidFill>
                  <a:schemeClr val="bg1">
                    <a:lumMod val="50000"/>
                  </a:schemeClr>
                </a:solidFill>
                <a:latin typeface="Gilroy SemiBold Italic" panose="00000700000000000000" pitchFamily="50" charset="0"/>
                <a:ea typeface="Gilroy SemiBold Italic" panose="00000700000000000000" pitchFamily="50" charset="0"/>
                <a:cs typeface="Gilroy SemiBold Italic" panose="00000700000000000000" pitchFamily="50" charset="0"/>
              </a:defRPr>
            </a:lvl1pPr>
          </a:lstStyle>
          <a:p>
            <a:pPr lvl="0"/>
            <a:r>
              <a:rPr lang="en-US"/>
              <a:t>Click to edit</a:t>
            </a:r>
          </a:p>
        </p:txBody>
      </p:sp>
      <p:sp>
        <p:nvSpPr>
          <p:cNvPr id="21" name="Text Placeholder 5">
            <a:extLst>
              <a:ext uri="{FF2B5EF4-FFF2-40B4-BE49-F238E27FC236}">
                <a16:creationId xmlns:a16="http://schemas.microsoft.com/office/drawing/2014/main" id="{79964C4C-BE29-4B3F-B9B8-CB02B4E19CCC}"/>
              </a:ext>
            </a:extLst>
          </p:cNvPr>
          <p:cNvSpPr>
            <a:spLocks noGrp="1"/>
          </p:cNvSpPr>
          <p:nvPr>
            <p:ph type="body" sz="quarter" idx="52"/>
          </p:nvPr>
        </p:nvSpPr>
        <p:spPr>
          <a:xfrm>
            <a:off x="9838284" y="4611077"/>
            <a:ext cx="1756573" cy="290744"/>
          </a:xfrm>
          <a:prstGeom prst="rect">
            <a:avLst/>
          </a:prstGeom>
        </p:spPr>
        <p:txBody>
          <a:bodyPr/>
          <a:lstStyle>
            <a:lvl1pPr marL="0" indent="0">
              <a:lnSpc>
                <a:spcPct val="100000"/>
              </a:lnSpc>
              <a:buNone/>
              <a:defRPr sz="1400" b="0" i="0">
                <a:solidFill>
                  <a:schemeClr val="tx1"/>
                </a:solidFill>
                <a:latin typeface="Gilroy Bold" panose="00000800000000000000" pitchFamily="50" charset="0"/>
                <a:ea typeface="Gilroy Bold" panose="00000800000000000000" pitchFamily="50" charset="0"/>
                <a:cs typeface="Gilroy Bold" panose="00000800000000000000" pitchFamily="50" charset="0"/>
              </a:defRPr>
            </a:lvl1pPr>
          </a:lstStyle>
          <a:p>
            <a:pPr lvl="0"/>
            <a:r>
              <a:rPr lang="en-US"/>
              <a:t>Click to edit</a:t>
            </a:r>
          </a:p>
        </p:txBody>
      </p:sp>
    </p:spTree>
    <p:extLst>
      <p:ext uri="{BB962C8B-B14F-4D97-AF65-F5344CB8AC3E}">
        <p14:creationId xmlns:p14="http://schemas.microsoft.com/office/powerpoint/2010/main" val="12803134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Opening_03">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2E84673-6C7C-8141-ACF3-D2BAEDE20C58}"/>
              </a:ext>
            </a:extLst>
          </p:cNvPr>
          <p:cNvSpPr>
            <a:spLocks noGrp="1"/>
          </p:cNvSpPr>
          <p:nvPr>
            <p:ph type="pic" sz="quarter" idx="10"/>
          </p:nvPr>
        </p:nvSpPr>
        <p:spPr>
          <a:xfrm>
            <a:off x="0" y="0"/>
            <a:ext cx="12192000" cy="4236720"/>
          </a:xfrm>
          <a:prstGeom prst="rect">
            <a:avLst/>
          </a:prstGeom>
          <a:solidFill>
            <a:schemeClr val="bg1">
              <a:lumMod val="50000"/>
            </a:schemeClr>
          </a:solidFill>
        </p:spPr>
        <p:txBody>
          <a:bodyPr/>
          <a:lstStyle/>
          <a:p>
            <a:endParaRPr lang="en-US"/>
          </a:p>
        </p:txBody>
      </p:sp>
      <p:sp>
        <p:nvSpPr>
          <p:cNvPr id="3" name="Subtitle 2"/>
          <p:cNvSpPr>
            <a:spLocks noGrp="1"/>
          </p:cNvSpPr>
          <p:nvPr>
            <p:ph type="subTitle" idx="1"/>
          </p:nvPr>
        </p:nvSpPr>
        <p:spPr>
          <a:xfrm>
            <a:off x="5783536" y="5413244"/>
            <a:ext cx="4986064" cy="382429"/>
          </a:xfrm>
          <a:prstGeom prst="rect">
            <a:avLst/>
          </a:prstGeom>
        </p:spPr>
        <p:txBody>
          <a:bodyPr/>
          <a:lstStyle>
            <a:lvl1pPr marL="0" indent="0" algn="l">
              <a:lnSpc>
                <a:spcPct val="100000"/>
              </a:lnSpc>
              <a:buNone/>
              <a:defRPr sz="2000" b="0" i="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5" name="Picture Placeholder 4">
            <a:extLst>
              <a:ext uri="{FF2B5EF4-FFF2-40B4-BE49-F238E27FC236}">
                <a16:creationId xmlns:a16="http://schemas.microsoft.com/office/drawing/2014/main" id="{0E2BA19A-717B-1C42-B04F-4AD584B5B92B}"/>
              </a:ext>
            </a:extLst>
          </p:cNvPr>
          <p:cNvSpPr>
            <a:spLocks noGrp="1"/>
          </p:cNvSpPr>
          <p:nvPr>
            <p:ph type="pic" sz="quarter" idx="11" hasCustomPrompt="1"/>
          </p:nvPr>
        </p:nvSpPr>
        <p:spPr>
          <a:xfrm>
            <a:off x="852011" y="4777400"/>
            <a:ext cx="3335337" cy="1654119"/>
          </a:xfrm>
          <a:prstGeom prst="rect">
            <a:avLst/>
          </a:prstGeom>
          <a:noFill/>
        </p:spPr>
        <p:txBody>
          <a:bodyPr/>
          <a:lstStyle/>
          <a:p>
            <a:r>
              <a:rPr lang="en-US"/>
              <a:t>Your logo here</a:t>
            </a:r>
          </a:p>
        </p:txBody>
      </p:sp>
    </p:spTree>
    <p:extLst>
      <p:ext uri="{BB962C8B-B14F-4D97-AF65-F5344CB8AC3E}">
        <p14:creationId xmlns:p14="http://schemas.microsoft.com/office/powerpoint/2010/main" val="27568464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DEFEFAD-0D18-4D95-B3FA-41EF0BD62AB7}" type="datetimeFigureOut">
              <a:rPr lang="en-US" smtClean="0"/>
              <a:t>1/16/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3F5E110-E11C-4F4F-B776-58EFCE82F9DD}" type="slidenum">
              <a:rPr lang="en-US" smtClean="0"/>
              <a:t>‹#›</a:t>
            </a:fld>
            <a:endParaRPr lang="en-US"/>
          </a:p>
        </p:txBody>
      </p:sp>
    </p:spTree>
    <p:extLst>
      <p:ext uri="{BB962C8B-B14F-4D97-AF65-F5344CB8AC3E}">
        <p14:creationId xmlns:p14="http://schemas.microsoft.com/office/powerpoint/2010/main" val="16941985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Our_Values">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1655277-E6ED-3544-9DF3-DA89B2CDB09B}"/>
              </a:ext>
            </a:extLst>
          </p:cNvPr>
          <p:cNvSpPr>
            <a:spLocks noGrp="1"/>
          </p:cNvSpPr>
          <p:nvPr>
            <p:ph type="body" sz="quarter" idx="12"/>
          </p:nvPr>
        </p:nvSpPr>
        <p:spPr>
          <a:xfrm>
            <a:off x="1118082" y="990601"/>
            <a:ext cx="4977917" cy="584200"/>
          </a:xfrm>
          <a:prstGeom prst="rect">
            <a:avLst/>
          </a:prstGeom>
        </p:spPr>
        <p:txBody>
          <a:bodyPr/>
          <a:lstStyle>
            <a:lvl1pPr marL="0" indent="0" algn="l">
              <a:lnSpc>
                <a:spcPct val="100000"/>
              </a:lnSpc>
              <a:buNone/>
              <a:defRPr sz="4400" b="1" i="0" spc="-150">
                <a:latin typeface="Gilroy ExtraBold" panose="00000900000000000000" pitchFamily="50" charset="0"/>
                <a:cs typeface="Gilroy ExtraBold" panose="00000900000000000000" pitchFamily="50" charset="0"/>
              </a:defRPr>
            </a:lvl1pPr>
          </a:lstStyle>
          <a:p>
            <a:pPr lvl="0"/>
            <a:r>
              <a:rPr lang="en-US"/>
              <a:t>Click to edit</a:t>
            </a:r>
          </a:p>
        </p:txBody>
      </p:sp>
      <p:sp>
        <p:nvSpPr>
          <p:cNvPr id="8" name="Text Placeholder 5">
            <a:extLst>
              <a:ext uri="{FF2B5EF4-FFF2-40B4-BE49-F238E27FC236}">
                <a16:creationId xmlns:a16="http://schemas.microsoft.com/office/drawing/2014/main" id="{78030DA6-8C43-474F-8418-31F5AA719F8D}"/>
              </a:ext>
            </a:extLst>
          </p:cNvPr>
          <p:cNvSpPr>
            <a:spLocks noGrp="1"/>
          </p:cNvSpPr>
          <p:nvPr>
            <p:ph type="body" sz="quarter" idx="14"/>
          </p:nvPr>
        </p:nvSpPr>
        <p:spPr>
          <a:xfrm>
            <a:off x="1118081" y="1667933"/>
            <a:ext cx="4977919" cy="1346199"/>
          </a:xfrm>
          <a:prstGeom prst="rect">
            <a:avLst/>
          </a:prstGeom>
        </p:spPr>
        <p:txBody>
          <a:bodyPr>
            <a:normAutofit/>
          </a:bodyPr>
          <a:lstStyle>
            <a:lvl1pPr marL="0" indent="0">
              <a:lnSpc>
                <a:spcPct val="150000"/>
              </a:lnSpc>
              <a:buNone/>
              <a:defRPr sz="1400" b="0" i="0">
                <a:solidFill>
                  <a:schemeClr val="tx2">
                    <a:lumMod val="75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a:t>Click to edit</a:t>
            </a:r>
          </a:p>
        </p:txBody>
      </p:sp>
      <p:sp>
        <p:nvSpPr>
          <p:cNvPr id="15" name="Text Placeholder 5">
            <a:extLst>
              <a:ext uri="{FF2B5EF4-FFF2-40B4-BE49-F238E27FC236}">
                <a16:creationId xmlns:a16="http://schemas.microsoft.com/office/drawing/2014/main" id="{01907160-964A-1644-921E-B0BA1A450935}"/>
              </a:ext>
            </a:extLst>
          </p:cNvPr>
          <p:cNvSpPr>
            <a:spLocks noGrp="1"/>
          </p:cNvSpPr>
          <p:nvPr>
            <p:ph type="body" sz="quarter" idx="18"/>
          </p:nvPr>
        </p:nvSpPr>
        <p:spPr>
          <a:xfrm>
            <a:off x="7281334" y="1151327"/>
            <a:ext cx="3667767" cy="1219200"/>
          </a:xfrm>
          <a:prstGeom prst="rect">
            <a:avLst/>
          </a:prstGeom>
        </p:spPr>
        <p:txBody>
          <a:bodyPr>
            <a:normAutofit/>
          </a:bodyPr>
          <a:lstStyle>
            <a:lvl1pPr marL="0" indent="0">
              <a:lnSpc>
                <a:spcPct val="150000"/>
              </a:lnSpc>
              <a:buNone/>
              <a:defRPr sz="1400" b="0" i="0">
                <a:solidFill>
                  <a:schemeClr val="tx2">
                    <a:lumMod val="75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a:t>Click to edit</a:t>
            </a:r>
          </a:p>
        </p:txBody>
      </p:sp>
      <p:sp>
        <p:nvSpPr>
          <p:cNvPr id="21" name="Text Placeholder 5">
            <a:extLst>
              <a:ext uri="{FF2B5EF4-FFF2-40B4-BE49-F238E27FC236}">
                <a16:creationId xmlns:a16="http://schemas.microsoft.com/office/drawing/2014/main" id="{A7CA29FC-4E91-C14B-9723-D18F2F260D5F}"/>
              </a:ext>
            </a:extLst>
          </p:cNvPr>
          <p:cNvSpPr>
            <a:spLocks noGrp="1"/>
          </p:cNvSpPr>
          <p:nvPr>
            <p:ph type="body" sz="quarter" idx="23"/>
          </p:nvPr>
        </p:nvSpPr>
        <p:spPr>
          <a:xfrm>
            <a:off x="7281332" y="736461"/>
            <a:ext cx="3667767" cy="347132"/>
          </a:xfrm>
          <a:prstGeom prst="rect">
            <a:avLst/>
          </a:prstGeom>
        </p:spPr>
        <p:txBody>
          <a:bodyPr/>
          <a:lstStyle>
            <a:lvl1pPr marL="0" indent="0">
              <a:lnSpc>
                <a:spcPct val="100000"/>
              </a:lnSpc>
              <a:buNone/>
              <a:defRPr sz="16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a:t>Click to edit</a:t>
            </a:r>
          </a:p>
        </p:txBody>
      </p:sp>
      <p:sp>
        <p:nvSpPr>
          <p:cNvPr id="9" name="Text Placeholder 5">
            <a:extLst>
              <a:ext uri="{FF2B5EF4-FFF2-40B4-BE49-F238E27FC236}">
                <a16:creationId xmlns:a16="http://schemas.microsoft.com/office/drawing/2014/main" id="{0148072E-058D-4F4B-9D2C-6DE437C3A5CA}"/>
              </a:ext>
            </a:extLst>
          </p:cNvPr>
          <p:cNvSpPr>
            <a:spLocks noGrp="1"/>
          </p:cNvSpPr>
          <p:nvPr>
            <p:ph type="body" sz="quarter" idx="24"/>
          </p:nvPr>
        </p:nvSpPr>
        <p:spPr>
          <a:xfrm>
            <a:off x="7281334" y="3098798"/>
            <a:ext cx="3667767" cy="1219200"/>
          </a:xfrm>
          <a:prstGeom prst="rect">
            <a:avLst/>
          </a:prstGeom>
        </p:spPr>
        <p:txBody>
          <a:bodyPr>
            <a:normAutofit/>
          </a:bodyPr>
          <a:lstStyle>
            <a:lvl1pPr marL="0" indent="0">
              <a:lnSpc>
                <a:spcPct val="150000"/>
              </a:lnSpc>
              <a:buNone/>
              <a:defRPr sz="1400" b="0" i="0">
                <a:solidFill>
                  <a:schemeClr val="tx2">
                    <a:lumMod val="75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a:t>Click to edit</a:t>
            </a:r>
          </a:p>
        </p:txBody>
      </p:sp>
      <p:sp>
        <p:nvSpPr>
          <p:cNvPr id="10" name="Text Placeholder 5">
            <a:extLst>
              <a:ext uri="{FF2B5EF4-FFF2-40B4-BE49-F238E27FC236}">
                <a16:creationId xmlns:a16="http://schemas.microsoft.com/office/drawing/2014/main" id="{80992D92-3C8A-4040-96CF-04CC2B47906E}"/>
              </a:ext>
            </a:extLst>
          </p:cNvPr>
          <p:cNvSpPr>
            <a:spLocks noGrp="1"/>
          </p:cNvSpPr>
          <p:nvPr>
            <p:ph type="body" sz="quarter" idx="25"/>
          </p:nvPr>
        </p:nvSpPr>
        <p:spPr>
          <a:xfrm>
            <a:off x="7281332" y="2683932"/>
            <a:ext cx="3667767" cy="347132"/>
          </a:xfrm>
          <a:prstGeom prst="rect">
            <a:avLst/>
          </a:prstGeom>
        </p:spPr>
        <p:txBody>
          <a:bodyPr/>
          <a:lstStyle>
            <a:lvl1pPr marL="0" indent="0">
              <a:lnSpc>
                <a:spcPct val="100000"/>
              </a:lnSpc>
              <a:buNone/>
              <a:defRPr sz="16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a:t>Click to edit</a:t>
            </a:r>
          </a:p>
        </p:txBody>
      </p:sp>
      <p:sp>
        <p:nvSpPr>
          <p:cNvPr id="11" name="Text Placeholder 5">
            <a:extLst>
              <a:ext uri="{FF2B5EF4-FFF2-40B4-BE49-F238E27FC236}">
                <a16:creationId xmlns:a16="http://schemas.microsoft.com/office/drawing/2014/main" id="{8918129B-A138-9D47-ADE2-E1663E551F95}"/>
              </a:ext>
            </a:extLst>
          </p:cNvPr>
          <p:cNvSpPr>
            <a:spLocks noGrp="1"/>
          </p:cNvSpPr>
          <p:nvPr>
            <p:ph type="body" sz="quarter" idx="26"/>
          </p:nvPr>
        </p:nvSpPr>
        <p:spPr>
          <a:xfrm>
            <a:off x="7281334" y="5046269"/>
            <a:ext cx="3667767" cy="1219200"/>
          </a:xfrm>
          <a:prstGeom prst="rect">
            <a:avLst/>
          </a:prstGeom>
        </p:spPr>
        <p:txBody>
          <a:bodyPr>
            <a:normAutofit/>
          </a:bodyPr>
          <a:lstStyle>
            <a:lvl1pPr marL="0" indent="0">
              <a:lnSpc>
                <a:spcPct val="150000"/>
              </a:lnSpc>
              <a:buNone/>
              <a:defRPr sz="1400" b="0" i="0">
                <a:solidFill>
                  <a:schemeClr val="tx2">
                    <a:lumMod val="75000"/>
                  </a:schemeClr>
                </a:solidFill>
                <a:latin typeface="Klinic Slab Book" pitchFamily="50" charset="0"/>
                <a:ea typeface="Open Sans" panose="020B0606030504020204" pitchFamily="34" charset="0"/>
                <a:cs typeface="Open Sans" panose="020B0606030504020204" pitchFamily="34" charset="0"/>
              </a:defRPr>
            </a:lvl1pPr>
          </a:lstStyle>
          <a:p>
            <a:pPr lvl="0"/>
            <a:r>
              <a:rPr lang="en-US"/>
              <a:t>Click to edit</a:t>
            </a:r>
          </a:p>
        </p:txBody>
      </p:sp>
      <p:sp>
        <p:nvSpPr>
          <p:cNvPr id="12" name="Text Placeholder 5">
            <a:extLst>
              <a:ext uri="{FF2B5EF4-FFF2-40B4-BE49-F238E27FC236}">
                <a16:creationId xmlns:a16="http://schemas.microsoft.com/office/drawing/2014/main" id="{59659B25-8E05-5645-8523-CB6254BCB1E4}"/>
              </a:ext>
            </a:extLst>
          </p:cNvPr>
          <p:cNvSpPr>
            <a:spLocks noGrp="1"/>
          </p:cNvSpPr>
          <p:nvPr>
            <p:ph type="body" sz="quarter" idx="27"/>
          </p:nvPr>
        </p:nvSpPr>
        <p:spPr>
          <a:xfrm>
            <a:off x="7281332" y="4631403"/>
            <a:ext cx="3667767" cy="347132"/>
          </a:xfrm>
          <a:prstGeom prst="rect">
            <a:avLst/>
          </a:prstGeom>
        </p:spPr>
        <p:txBody>
          <a:bodyPr/>
          <a:lstStyle>
            <a:lvl1pPr marL="0" indent="0">
              <a:lnSpc>
                <a:spcPct val="100000"/>
              </a:lnSpc>
              <a:buNone/>
              <a:defRPr sz="1600" b="1" i="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stStyle>
          <a:p>
            <a:pPr lvl="0"/>
            <a:r>
              <a:rPr lang="en-US"/>
              <a:t>Click to edit</a:t>
            </a:r>
          </a:p>
        </p:txBody>
      </p:sp>
      <p:sp>
        <p:nvSpPr>
          <p:cNvPr id="3" name="Picture Placeholder 2">
            <a:extLst>
              <a:ext uri="{FF2B5EF4-FFF2-40B4-BE49-F238E27FC236}">
                <a16:creationId xmlns:a16="http://schemas.microsoft.com/office/drawing/2014/main" id="{045DBFF8-6EE5-A54C-9309-CE1810310CDB}"/>
              </a:ext>
            </a:extLst>
          </p:cNvPr>
          <p:cNvSpPr>
            <a:spLocks noGrp="1"/>
          </p:cNvSpPr>
          <p:nvPr>
            <p:ph type="pic" sz="quarter" idx="28"/>
          </p:nvPr>
        </p:nvSpPr>
        <p:spPr>
          <a:xfrm>
            <a:off x="0" y="3309938"/>
            <a:ext cx="6096000" cy="3548062"/>
          </a:xfrm>
          <a:prstGeom prst="rect">
            <a:avLst/>
          </a:prstGeom>
          <a:solidFill>
            <a:schemeClr val="bg1">
              <a:lumMod val="50000"/>
            </a:schemeClr>
          </a:solidFill>
        </p:spPr>
        <p:txBody>
          <a:bodyPr/>
          <a:lstStyle/>
          <a:p>
            <a:endParaRPr lang="en-US"/>
          </a:p>
        </p:txBody>
      </p:sp>
    </p:spTree>
    <p:extLst>
      <p:ext uri="{BB962C8B-B14F-4D97-AF65-F5344CB8AC3E}">
        <p14:creationId xmlns:p14="http://schemas.microsoft.com/office/powerpoint/2010/main" val="36813643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110"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866480376"/>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Layout-9">
    <p:spTree>
      <p:nvGrpSpPr>
        <p:cNvPr id="1" name=""/>
        <p:cNvGrpSpPr/>
        <p:nvPr/>
      </p:nvGrpSpPr>
      <p:grpSpPr>
        <a:xfrm>
          <a:off x="0" y="0"/>
          <a:ext cx="0" cy="0"/>
          <a:chOff x="0" y="0"/>
          <a:chExt cx="0" cy="0"/>
        </a:xfrm>
      </p:grpSpPr>
      <p:sp>
        <p:nvSpPr>
          <p:cNvPr id="7" name="Picture Placeholder 2">
            <a:extLst>
              <a:ext uri="{FF2B5EF4-FFF2-40B4-BE49-F238E27FC236}">
                <a16:creationId xmlns:a16="http://schemas.microsoft.com/office/drawing/2014/main" id="{11FDCD23-34A3-E245-9C06-56A6138BCDC1}"/>
              </a:ext>
            </a:extLst>
          </p:cNvPr>
          <p:cNvSpPr>
            <a:spLocks noGrp="1"/>
          </p:cNvSpPr>
          <p:nvPr>
            <p:ph type="pic" sz="quarter" idx="11"/>
          </p:nvPr>
        </p:nvSpPr>
        <p:spPr>
          <a:xfrm>
            <a:off x="5169408" y="0"/>
            <a:ext cx="7022593" cy="6858000"/>
          </a:xfrm>
          <a:prstGeom prst="rect">
            <a:avLst/>
          </a:prstGeom>
          <a:pattFill prst="pct5">
            <a:fgClr>
              <a:srgbClr val="971C95"/>
            </a:fgClr>
            <a:bgClr>
              <a:schemeClr val="bg1"/>
            </a:bgClr>
          </a:pattFill>
        </p:spPr>
        <p:txBody>
          <a:bodyPr/>
          <a:lstStyle>
            <a:lvl1pPr>
              <a:defRPr sz="1400"/>
            </a:lvl1pPr>
          </a:lstStyle>
          <a:p>
            <a:endParaRPr lang="en-US"/>
          </a:p>
        </p:txBody>
      </p:sp>
    </p:spTree>
    <p:extLst>
      <p:ext uri="{BB962C8B-B14F-4D97-AF65-F5344CB8AC3E}">
        <p14:creationId xmlns:p14="http://schemas.microsoft.com/office/powerpoint/2010/main" val="26453992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44DF764D-A077-4BED-ABF1-8DF341BC85D7}"/>
              </a:ext>
            </a:extLst>
          </p:cNvPr>
          <p:cNvSpPr>
            <a:spLocks noGrp="1"/>
          </p:cNvSpPr>
          <p:nvPr>
            <p:ph type="pic" sz="quarter" idx="10"/>
          </p:nvPr>
        </p:nvSpPr>
        <p:spPr>
          <a:xfrm>
            <a:off x="458724" y="411480"/>
            <a:ext cx="11274552" cy="6035040"/>
          </a:xfrm>
          <a:solidFill>
            <a:schemeClr val="accent1"/>
          </a:solidFill>
        </p:spPr>
        <p:txBody>
          <a:bodyPr/>
          <a:lstStyle/>
          <a:p>
            <a:endParaRPr lang="en-US"/>
          </a:p>
        </p:txBody>
      </p:sp>
      <p:sp>
        <p:nvSpPr>
          <p:cNvPr id="2" name="Title 1">
            <a:extLst>
              <a:ext uri="{FF2B5EF4-FFF2-40B4-BE49-F238E27FC236}">
                <a16:creationId xmlns:a16="http://schemas.microsoft.com/office/drawing/2014/main" id="{494248F2-5264-4601-AA0B-6C092F77F2DD}"/>
              </a:ext>
            </a:extLst>
          </p:cNvPr>
          <p:cNvSpPr>
            <a:spLocks noGrp="1"/>
          </p:cNvSpPr>
          <p:nvPr>
            <p:ph type="ctrTitle" hasCustomPrompt="1"/>
          </p:nvPr>
        </p:nvSpPr>
        <p:spPr>
          <a:xfrm>
            <a:off x="458724" y="3236493"/>
            <a:ext cx="5149596" cy="1448385"/>
          </a:xfrm>
          <a:solidFill>
            <a:schemeClr val="bg1">
              <a:alpha val="80000"/>
            </a:schemeClr>
          </a:solidFill>
        </p:spPr>
        <p:txBody>
          <a:bodyPr lIns="502920" bIns="137160" anchor="b">
            <a:normAutofit/>
          </a:bodyPr>
          <a:lstStyle>
            <a:lvl1pPr algn="l">
              <a:defRPr sz="3600">
                <a:solidFill>
                  <a:schemeClr val="bg2">
                    <a:lumMod val="50000"/>
                  </a:schemeClr>
                </a:solidFill>
              </a:defRPr>
            </a:lvl1pPr>
          </a:lstStyle>
          <a:p>
            <a:r>
              <a:rPr lang="en-US"/>
              <a:t>CLICK TO ADD TITLE</a:t>
            </a:r>
          </a:p>
        </p:txBody>
      </p:sp>
      <p:sp>
        <p:nvSpPr>
          <p:cNvPr id="3" name="Subtitle 2">
            <a:extLst>
              <a:ext uri="{FF2B5EF4-FFF2-40B4-BE49-F238E27FC236}">
                <a16:creationId xmlns:a16="http://schemas.microsoft.com/office/drawing/2014/main" id="{DCFB69D3-5632-4285-A209-9DCA67DA668C}"/>
              </a:ext>
            </a:extLst>
          </p:cNvPr>
          <p:cNvSpPr>
            <a:spLocks noGrp="1"/>
          </p:cNvSpPr>
          <p:nvPr>
            <p:ph type="subTitle" idx="1"/>
          </p:nvPr>
        </p:nvSpPr>
        <p:spPr>
          <a:xfrm>
            <a:off x="458724" y="4684879"/>
            <a:ext cx="5149596" cy="524794"/>
          </a:xfrm>
          <a:solidFill>
            <a:schemeClr val="bg1">
              <a:alpha val="80000"/>
            </a:schemeClr>
          </a:solidFill>
        </p:spPr>
        <p:txBody>
          <a:bodyPr lIns="502920">
            <a:normAutofit/>
          </a:bodyPr>
          <a:lstStyle>
            <a:lvl1pPr marL="0" indent="0" algn="l">
              <a:buNone/>
              <a:defRPr sz="1400" spc="30" baseline="0">
                <a:solidFill>
                  <a:schemeClr val="bg2">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954133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556C8C1-E81C-436D-A310-A71CAAE33A17}"/>
              </a:ext>
              <a:ext uri="{C183D7F6-B498-43B3-948B-1728B52AA6E4}">
                <adec:decorative xmlns="" xmlns:adec="http://schemas.microsoft.com/office/drawing/2017/decorative" val="1"/>
              </a:ext>
            </a:extLst>
          </p:cNvPr>
          <p:cNvSpPr/>
          <p:nvPr userDrawn="1"/>
        </p:nvSpPr>
        <p:spPr>
          <a:xfrm>
            <a:off x="6286500" y="946404"/>
            <a:ext cx="5486400" cy="4965192"/>
          </a:xfrm>
          <a:prstGeom prst="rect">
            <a:avLst/>
          </a:prstGeom>
          <a:solidFill>
            <a:schemeClr val="accent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0B5ED18-7A07-47F1-8056-CD86B076AFE2}"/>
              </a:ext>
            </a:extLst>
          </p:cNvPr>
          <p:cNvSpPr>
            <a:spLocks noGrp="1"/>
          </p:cNvSpPr>
          <p:nvPr>
            <p:ph type="title" hasCustomPrompt="1"/>
          </p:nvPr>
        </p:nvSpPr>
        <p:spPr>
          <a:xfrm>
            <a:off x="457199" y="2103120"/>
            <a:ext cx="3848101" cy="1325563"/>
          </a:xfrm>
        </p:spPr>
        <p:txBody>
          <a:bodyPr anchor="b" anchorCtr="0">
            <a:normAutofit/>
          </a:bodyPr>
          <a:lstStyle>
            <a:lvl1pPr>
              <a:defRPr sz="3600">
                <a:solidFill>
                  <a:schemeClr val="bg2">
                    <a:lumMod val="50000"/>
                  </a:schemeClr>
                </a:solidFill>
              </a:defRPr>
            </a:lvl1pPr>
          </a:lstStyle>
          <a:p>
            <a:r>
              <a:rPr lang="en-US"/>
              <a:t>CLICK TO ADD TITLE</a:t>
            </a:r>
          </a:p>
        </p:txBody>
      </p:sp>
      <p:sp>
        <p:nvSpPr>
          <p:cNvPr id="13" name="Picture Placeholder 12">
            <a:extLst>
              <a:ext uri="{FF2B5EF4-FFF2-40B4-BE49-F238E27FC236}">
                <a16:creationId xmlns:a16="http://schemas.microsoft.com/office/drawing/2014/main" id="{428B1CE2-91FA-4E2B-8543-3B0F79B4801D}"/>
              </a:ext>
            </a:extLst>
          </p:cNvPr>
          <p:cNvSpPr>
            <a:spLocks noGrp="1"/>
          </p:cNvSpPr>
          <p:nvPr>
            <p:ph type="pic" sz="quarter" idx="15"/>
          </p:nvPr>
        </p:nvSpPr>
        <p:spPr>
          <a:xfrm>
            <a:off x="4697421" y="1600200"/>
            <a:ext cx="2743199" cy="3657600"/>
          </a:xfrm>
          <a:solidFill>
            <a:schemeClr val="accent1"/>
          </a:solidFill>
        </p:spPr>
        <p:txBody>
          <a:bodyPr/>
          <a:lstStyle/>
          <a:p>
            <a:endParaRPr lang="en-US"/>
          </a:p>
        </p:txBody>
      </p:sp>
      <p:sp>
        <p:nvSpPr>
          <p:cNvPr id="10" name="Text Placeholder 6">
            <a:extLst>
              <a:ext uri="{FF2B5EF4-FFF2-40B4-BE49-F238E27FC236}">
                <a16:creationId xmlns:a16="http://schemas.microsoft.com/office/drawing/2014/main" id="{0F7B6DF9-E76A-44ED-B84C-1391CD5D5592}"/>
              </a:ext>
            </a:extLst>
          </p:cNvPr>
          <p:cNvSpPr>
            <a:spLocks noGrp="1"/>
          </p:cNvSpPr>
          <p:nvPr>
            <p:ph type="body" sz="quarter" idx="16"/>
          </p:nvPr>
        </p:nvSpPr>
        <p:spPr>
          <a:xfrm>
            <a:off x="8312614" y="1893262"/>
            <a:ext cx="2743200" cy="3071477"/>
          </a:xfrm>
        </p:spPr>
        <p:txBody>
          <a:bodyPr anchor="ctr" anchorCtr="0">
            <a:normAutofit/>
          </a:bodyPr>
          <a:lstStyle>
            <a:lvl1pPr marL="285750" indent="-285750">
              <a:lnSpc>
                <a:spcPct val="100000"/>
              </a:lnSpc>
              <a:buFont typeface="Arial" panose="020B0604020202020204" pitchFamily="34" charset="0"/>
              <a:buChar char="•"/>
              <a:defRPr sz="1800">
                <a:solidFill>
                  <a:schemeClr val="tx1">
                    <a:lumMod val="75000"/>
                    <a:lumOff val="25000"/>
                  </a:schemeClr>
                </a:solidFill>
              </a:defRPr>
            </a:lvl1pPr>
            <a:lvl2pPr marL="742950" indent="-285750">
              <a:lnSpc>
                <a:spcPct val="100000"/>
              </a:lnSpc>
              <a:buFont typeface="Arial" panose="020B0604020202020204" pitchFamily="34" charset="0"/>
              <a:buChar char="•"/>
              <a:defRPr sz="2000"/>
            </a:lvl2pPr>
            <a:lvl3pPr marL="1200150" indent="-285750">
              <a:lnSpc>
                <a:spcPct val="100000"/>
              </a:lnSpc>
              <a:buFont typeface="Arial" panose="020B0604020202020204" pitchFamily="34" charset="0"/>
              <a:buChar char="•"/>
              <a:defRPr sz="2000"/>
            </a:lvl3pPr>
            <a:lvl4pPr marL="1657350" indent="-285750">
              <a:lnSpc>
                <a:spcPct val="100000"/>
              </a:lnSpc>
              <a:buFont typeface="Arial" panose="020B0604020202020204" pitchFamily="34" charset="0"/>
              <a:buChar char="•"/>
              <a:defRPr sz="2000"/>
            </a:lvl4pPr>
            <a:lvl5pPr marL="2114550" indent="-285750">
              <a:lnSpc>
                <a:spcPct val="100000"/>
              </a:lnSpc>
              <a:buFont typeface="Arial" panose="020B0604020202020204" pitchFamily="34" charset="0"/>
              <a:buChar char="•"/>
              <a:defRPr sz="2000"/>
            </a:lvl5pPr>
          </a:lstStyle>
          <a:p>
            <a:pPr lvl="0"/>
            <a:r>
              <a:rPr lang="en-US"/>
              <a:t>Click to edit Master text styles</a:t>
            </a:r>
          </a:p>
        </p:txBody>
      </p:sp>
      <p:sp>
        <p:nvSpPr>
          <p:cNvPr id="3" name="Date Placeholder 2">
            <a:extLst>
              <a:ext uri="{FF2B5EF4-FFF2-40B4-BE49-F238E27FC236}">
                <a16:creationId xmlns:a16="http://schemas.microsoft.com/office/drawing/2014/main" id="{A0C71211-4520-46A1-9487-4AE49C3239EF}"/>
              </a:ext>
            </a:extLst>
          </p:cNvPr>
          <p:cNvSpPr>
            <a:spLocks noGrp="1"/>
          </p:cNvSpPr>
          <p:nvPr>
            <p:ph type="dt" sz="half" idx="10"/>
          </p:nvPr>
        </p:nvSpPr>
        <p:spPr/>
        <p:txBody>
          <a:bodyPr/>
          <a:lstStyle/>
          <a:p>
            <a:r>
              <a:rPr lang="en-US"/>
              <a:t>20XX</a:t>
            </a:r>
          </a:p>
        </p:txBody>
      </p:sp>
      <p:sp>
        <p:nvSpPr>
          <p:cNvPr id="4" name="Footer Placeholder 3">
            <a:extLst>
              <a:ext uri="{FF2B5EF4-FFF2-40B4-BE49-F238E27FC236}">
                <a16:creationId xmlns:a16="http://schemas.microsoft.com/office/drawing/2014/main" id="{96356206-85FD-45F5-A1F7-128DB34C860F}"/>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0203763F-C8CD-4BCB-9A0A-B10F000BC1DB}"/>
              </a:ext>
            </a:extLst>
          </p:cNvPr>
          <p:cNvSpPr>
            <a:spLocks noGrp="1"/>
          </p:cNvSpPr>
          <p:nvPr>
            <p:ph type="sldNum" sz="quarter" idx="12"/>
          </p:nvPr>
        </p:nvSpPr>
        <p:spPr/>
        <p:txBody>
          <a:bodyPr/>
          <a:lstStyle/>
          <a:p>
            <a:fld id="{294A09A9-5501-47C1-A89A-A340965A2BE2}" type="slidenum">
              <a:rPr lang="en-US" smtClean="0"/>
              <a:t>‹#›</a:t>
            </a:fld>
            <a:endParaRPr lang="en-US"/>
          </a:p>
        </p:txBody>
      </p:sp>
      <p:sp>
        <p:nvSpPr>
          <p:cNvPr id="7" name="Freeform: Shape 6">
            <a:extLst>
              <a:ext uri="{FF2B5EF4-FFF2-40B4-BE49-F238E27FC236}">
                <a16:creationId xmlns:a16="http://schemas.microsoft.com/office/drawing/2014/main" id="{4ECB9306-A7FD-4B22-8E8A-E0B8D7862BCE}"/>
              </a:ext>
              <a:ext uri="{C183D7F6-B498-43B3-948B-1728B52AA6E4}">
                <adec:decorative xmlns="" xmlns:adec="http://schemas.microsoft.com/office/drawing/2017/decorative" val="1"/>
              </a:ext>
            </a:extLst>
          </p:cNvPr>
          <p:cNvSpPr/>
          <p:nvPr userDrawn="1"/>
        </p:nvSpPr>
        <p:spPr>
          <a:xfrm rot="13547565" flipH="1">
            <a:off x="624728" y="3747150"/>
            <a:ext cx="1044472" cy="908544"/>
          </a:xfrm>
          <a:custGeom>
            <a:avLst/>
            <a:gdLst>
              <a:gd name="connsiteX0" fmla="*/ 2669063 w 3859699"/>
              <a:gd name="connsiteY0" fmla="*/ 2093712 h 3357396"/>
              <a:gd name="connsiteX1" fmla="*/ 2719923 w 3859699"/>
              <a:gd name="connsiteY1" fmla="*/ 2108537 h 3357396"/>
              <a:gd name="connsiteX2" fmla="*/ 2680800 w 3859699"/>
              <a:gd name="connsiteY2" fmla="*/ 2134071 h 3357396"/>
              <a:gd name="connsiteX3" fmla="*/ 2681005 w 3859699"/>
              <a:gd name="connsiteY3" fmla="*/ 2134071 h 3357396"/>
              <a:gd name="connsiteX4" fmla="*/ 2677815 w 3859699"/>
              <a:gd name="connsiteY4" fmla="*/ 2137571 h 3357396"/>
              <a:gd name="connsiteX5" fmla="*/ 2466445 w 3859699"/>
              <a:gd name="connsiteY5" fmla="*/ 2477326 h 3357396"/>
              <a:gd name="connsiteX6" fmla="*/ 2440500 w 3859699"/>
              <a:gd name="connsiteY6" fmla="*/ 2506155 h 3357396"/>
              <a:gd name="connsiteX7" fmla="*/ 2392831 w 3859699"/>
              <a:gd name="connsiteY7" fmla="*/ 2555470 h 3357396"/>
              <a:gd name="connsiteX8" fmla="*/ 2363284 w 3859699"/>
              <a:gd name="connsiteY8" fmla="*/ 2586356 h 3357396"/>
              <a:gd name="connsiteX9" fmla="*/ 2459753 w 3859699"/>
              <a:gd name="connsiteY9" fmla="*/ 2414318 h 3357396"/>
              <a:gd name="connsiteX10" fmla="*/ 2536867 w 3859699"/>
              <a:gd name="connsiteY10" fmla="*/ 2267296 h 3357396"/>
              <a:gd name="connsiteX11" fmla="*/ 2669063 w 3859699"/>
              <a:gd name="connsiteY11" fmla="*/ 2093712 h 3357396"/>
              <a:gd name="connsiteX12" fmla="*/ 2772328 w 3859699"/>
              <a:gd name="connsiteY12" fmla="*/ 1912818 h 3357396"/>
              <a:gd name="connsiteX13" fmla="*/ 2772530 w 3859699"/>
              <a:gd name="connsiteY13" fmla="*/ 1912892 h 3357396"/>
              <a:gd name="connsiteX14" fmla="*/ 2772534 w 3859699"/>
              <a:gd name="connsiteY14" fmla="*/ 1912818 h 3357396"/>
              <a:gd name="connsiteX15" fmla="*/ 2245215 w 3859699"/>
              <a:gd name="connsiteY15" fmla="*/ 1880963 h 3357396"/>
              <a:gd name="connsiteX16" fmla="*/ 2276388 w 3859699"/>
              <a:gd name="connsiteY16" fmla="*/ 1873797 h 3357396"/>
              <a:gd name="connsiteX17" fmla="*/ 2393347 w 3859699"/>
              <a:gd name="connsiteY17" fmla="*/ 1926202 h 3357396"/>
              <a:gd name="connsiteX18" fmla="*/ 2483227 w 3859699"/>
              <a:gd name="connsiteY18" fmla="*/ 1957809 h 3357396"/>
              <a:gd name="connsiteX19" fmla="*/ 2601318 w 3859699"/>
              <a:gd name="connsiteY19" fmla="*/ 2019583 h 3357396"/>
              <a:gd name="connsiteX20" fmla="*/ 2524410 w 3859699"/>
              <a:gd name="connsiteY20" fmla="*/ 2034203 h 3357396"/>
              <a:gd name="connsiteX21" fmla="*/ 2524410 w 3859699"/>
              <a:gd name="connsiteY21" fmla="*/ 2034099 h 3357396"/>
              <a:gd name="connsiteX22" fmla="*/ 2520086 w 3859699"/>
              <a:gd name="connsiteY22" fmla="*/ 2035644 h 3357396"/>
              <a:gd name="connsiteX23" fmla="*/ 2152738 w 3859699"/>
              <a:gd name="connsiteY23" fmla="*/ 2108846 h 3357396"/>
              <a:gd name="connsiteX24" fmla="*/ 2155724 w 3859699"/>
              <a:gd name="connsiteY24" fmla="*/ 2089696 h 3357396"/>
              <a:gd name="connsiteX25" fmla="*/ 2156548 w 3859699"/>
              <a:gd name="connsiteY25" fmla="*/ 2085270 h 3357396"/>
              <a:gd name="connsiteX26" fmla="*/ 2210496 w 3859699"/>
              <a:gd name="connsiteY26" fmla="*/ 1907979 h 3357396"/>
              <a:gd name="connsiteX27" fmla="*/ 2245215 w 3859699"/>
              <a:gd name="connsiteY27" fmla="*/ 1880963 h 3357396"/>
              <a:gd name="connsiteX28" fmla="*/ 2934484 w 3859699"/>
              <a:gd name="connsiteY28" fmla="*/ 1597669 h 3357396"/>
              <a:gd name="connsiteX29" fmla="*/ 2934690 w 3859699"/>
              <a:gd name="connsiteY29" fmla="*/ 1597669 h 3357396"/>
              <a:gd name="connsiteX30" fmla="*/ 2894640 w 3859699"/>
              <a:gd name="connsiteY30" fmla="*/ 1741808 h 3357396"/>
              <a:gd name="connsiteX31" fmla="*/ 2847487 w 3859699"/>
              <a:gd name="connsiteY31" fmla="*/ 1880284 h 3357396"/>
              <a:gd name="connsiteX32" fmla="*/ 2934484 w 3859699"/>
              <a:gd name="connsiteY32" fmla="*/ 1597669 h 3357396"/>
              <a:gd name="connsiteX33" fmla="*/ 1963298 w 3859699"/>
              <a:gd name="connsiteY33" fmla="*/ 1789167 h 3357396"/>
              <a:gd name="connsiteX34" fmla="*/ 2158914 w 3859699"/>
              <a:gd name="connsiteY34" fmla="*/ 1835395 h 3357396"/>
              <a:gd name="connsiteX35" fmla="*/ 2170961 w 3859699"/>
              <a:gd name="connsiteY35" fmla="*/ 1901596 h 3357396"/>
              <a:gd name="connsiteX36" fmla="*/ 2147487 w 3859699"/>
              <a:gd name="connsiteY36" fmla="*/ 2055515 h 3357396"/>
              <a:gd name="connsiteX37" fmla="*/ 2136059 w 3859699"/>
              <a:gd name="connsiteY37" fmla="*/ 2082592 h 3357396"/>
              <a:gd name="connsiteX38" fmla="*/ 2136059 w 3859699"/>
              <a:gd name="connsiteY38" fmla="*/ 2082489 h 3357396"/>
              <a:gd name="connsiteX39" fmla="*/ 2101466 w 3859699"/>
              <a:gd name="connsiteY39" fmla="*/ 2103081 h 3357396"/>
              <a:gd name="connsiteX40" fmla="*/ 1963298 w 3859699"/>
              <a:gd name="connsiteY40" fmla="*/ 1789167 h 3357396"/>
              <a:gd name="connsiteX41" fmla="*/ 2803936 w 3859699"/>
              <a:gd name="connsiteY41" fmla="*/ 1468253 h 3357396"/>
              <a:gd name="connsiteX42" fmla="*/ 2803833 w 3859699"/>
              <a:gd name="connsiteY42" fmla="*/ 1471753 h 3357396"/>
              <a:gd name="connsiteX43" fmla="*/ 2805377 w 3859699"/>
              <a:gd name="connsiteY43" fmla="*/ 1469694 h 3357396"/>
              <a:gd name="connsiteX44" fmla="*/ 2801053 w 3859699"/>
              <a:gd name="connsiteY44" fmla="*/ 1431703 h 3357396"/>
              <a:gd name="connsiteX45" fmla="*/ 2818041 w 3859699"/>
              <a:gd name="connsiteY45" fmla="*/ 1465370 h 3357396"/>
              <a:gd name="connsiteX46" fmla="*/ 2801053 w 3859699"/>
              <a:gd name="connsiteY46" fmla="*/ 1431703 h 3357396"/>
              <a:gd name="connsiteX47" fmla="*/ 3002126 w 3859699"/>
              <a:gd name="connsiteY47" fmla="*/ 1352736 h 3357396"/>
              <a:gd name="connsiteX48" fmla="*/ 2821644 w 3859699"/>
              <a:gd name="connsiteY48" fmla="*/ 1933718 h 3357396"/>
              <a:gd name="connsiteX49" fmla="*/ 2777006 w 3859699"/>
              <a:gd name="connsiteY49" fmla="*/ 1914522 h 3357396"/>
              <a:gd name="connsiteX50" fmla="*/ 2772530 w 3859699"/>
              <a:gd name="connsiteY50" fmla="*/ 1912892 h 3357396"/>
              <a:gd name="connsiteX51" fmla="*/ 2771823 w 3859699"/>
              <a:gd name="connsiteY51" fmla="*/ 1925735 h 3357396"/>
              <a:gd name="connsiteX52" fmla="*/ 2713335 w 3859699"/>
              <a:gd name="connsiteY52" fmla="*/ 1897477 h 3357396"/>
              <a:gd name="connsiteX53" fmla="*/ 2393347 w 3859699"/>
              <a:gd name="connsiteY53" fmla="*/ 1575224 h 3357396"/>
              <a:gd name="connsiteX54" fmla="*/ 2550149 w 3859699"/>
              <a:gd name="connsiteY54" fmla="*/ 1660060 h 3357396"/>
              <a:gd name="connsiteX55" fmla="*/ 2548295 w 3859699"/>
              <a:gd name="connsiteY55" fmla="*/ 1657487 h 3357396"/>
              <a:gd name="connsiteX56" fmla="*/ 2734337 w 3859699"/>
              <a:gd name="connsiteY56" fmla="*/ 1748705 h 3357396"/>
              <a:gd name="connsiteX57" fmla="*/ 2700568 w 3859699"/>
              <a:gd name="connsiteY57" fmla="*/ 1686932 h 3357396"/>
              <a:gd name="connsiteX58" fmla="*/ 2555194 w 3859699"/>
              <a:gd name="connsiteY58" fmla="*/ 1586755 h 3357396"/>
              <a:gd name="connsiteX59" fmla="*/ 2683476 w 3859699"/>
              <a:gd name="connsiteY59" fmla="*/ 1653676 h 3357396"/>
              <a:gd name="connsiteX60" fmla="*/ 2746075 w 3859699"/>
              <a:gd name="connsiteY60" fmla="*/ 1691359 h 3357396"/>
              <a:gd name="connsiteX61" fmla="*/ 2681315 w 3859699"/>
              <a:gd name="connsiteY61" fmla="*/ 1518804 h 3357396"/>
              <a:gd name="connsiteX62" fmla="*/ 2706230 w 3859699"/>
              <a:gd name="connsiteY62" fmla="*/ 1476077 h 3357396"/>
              <a:gd name="connsiteX63" fmla="*/ 2707362 w 3859699"/>
              <a:gd name="connsiteY63" fmla="*/ 1477416 h 3357396"/>
              <a:gd name="connsiteX64" fmla="*/ 2786640 w 3859699"/>
              <a:gd name="connsiteY64" fmla="*/ 1636895 h 3357396"/>
              <a:gd name="connsiteX65" fmla="*/ 2807230 w 3859699"/>
              <a:gd name="connsiteY65" fmla="*/ 1544235 h 3357396"/>
              <a:gd name="connsiteX66" fmla="*/ 2794875 w 3859699"/>
              <a:gd name="connsiteY66" fmla="*/ 1632263 h 3357396"/>
              <a:gd name="connsiteX67" fmla="*/ 2756164 w 3859699"/>
              <a:gd name="connsiteY67" fmla="*/ 1691771 h 3357396"/>
              <a:gd name="connsiteX68" fmla="*/ 2798582 w 3859699"/>
              <a:gd name="connsiteY68" fmla="*/ 1662119 h 3357396"/>
              <a:gd name="connsiteX69" fmla="*/ 2865298 w 3859699"/>
              <a:gd name="connsiteY69" fmla="*/ 1627733 h 3357396"/>
              <a:gd name="connsiteX70" fmla="*/ 3002126 w 3859699"/>
              <a:gd name="connsiteY70" fmla="*/ 1352736 h 3357396"/>
              <a:gd name="connsiteX71" fmla="*/ 1695510 w 3859699"/>
              <a:gd name="connsiteY71" fmla="*/ 1723996 h 3357396"/>
              <a:gd name="connsiteX72" fmla="*/ 1075096 w 3859699"/>
              <a:gd name="connsiteY72" fmla="*/ 2194506 h 3357396"/>
              <a:gd name="connsiteX73" fmla="*/ 797115 w 3859699"/>
              <a:gd name="connsiteY73" fmla="*/ 2390123 h 3357396"/>
              <a:gd name="connsiteX74" fmla="*/ 802673 w 3859699"/>
              <a:gd name="connsiteY74" fmla="*/ 2399697 h 3357396"/>
              <a:gd name="connsiteX75" fmla="*/ 1710232 w 3859699"/>
              <a:gd name="connsiteY75" fmla="*/ 1728629 h 3357396"/>
              <a:gd name="connsiteX76" fmla="*/ 1695510 w 3859699"/>
              <a:gd name="connsiteY76" fmla="*/ 1723996 h 3357396"/>
              <a:gd name="connsiteX77" fmla="*/ 2541294 w 3859699"/>
              <a:gd name="connsiteY77" fmla="*/ 1460737 h 3357396"/>
              <a:gd name="connsiteX78" fmla="*/ 2655267 w 3859699"/>
              <a:gd name="connsiteY78" fmla="*/ 1557516 h 3357396"/>
              <a:gd name="connsiteX79" fmla="*/ 2658047 w 3859699"/>
              <a:gd name="connsiteY79" fmla="*/ 1599213 h 3357396"/>
              <a:gd name="connsiteX80" fmla="*/ 2639309 w 3859699"/>
              <a:gd name="connsiteY80" fmla="*/ 1576872 h 3357396"/>
              <a:gd name="connsiteX81" fmla="*/ 2622528 w 3859699"/>
              <a:gd name="connsiteY81" fmla="*/ 1574194 h 3357396"/>
              <a:gd name="connsiteX82" fmla="*/ 2596171 w 3859699"/>
              <a:gd name="connsiteY82" fmla="*/ 1547529 h 3357396"/>
              <a:gd name="connsiteX83" fmla="*/ 2582992 w 3859699"/>
              <a:gd name="connsiteY83" fmla="*/ 1539498 h 3357396"/>
              <a:gd name="connsiteX84" fmla="*/ 2588140 w 3859699"/>
              <a:gd name="connsiteY84" fmla="*/ 1554016 h 3357396"/>
              <a:gd name="connsiteX85" fmla="*/ 2624483 w 3859699"/>
              <a:gd name="connsiteY85" fmla="*/ 1583152 h 3357396"/>
              <a:gd name="connsiteX86" fmla="*/ 2606569 w 3859699"/>
              <a:gd name="connsiteY86" fmla="*/ 1584903 h 3357396"/>
              <a:gd name="connsiteX87" fmla="*/ 2541294 w 3859699"/>
              <a:gd name="connsiteY87" fmla="*/ 1460840 h 3357396"/>
              <a:gd name="connsiteX88" fmla="*/ 2263004 w 3859699"/>
              <a:gd name="connsiteY88" fmla="*/ 1472885 h 3357396"/>
              <a:gd name="connsiteX89" fmla="*/ 2408173 w 3859699"/>
              <a:gd name="connsiteY89" fmla="*/ 1662017 h 3357396"/>
              <a:gd name="connsiteX90" fmla="*/ 2410437 w 3859699"/>
              <a:gd name="connsiteY90" fmla="*/ 1664487 h 3357396"/>
              <a:gd name="connsiteX91" fmla="*/ 2558488 w 3859699"/>
              <a:gd name="connsiteY91" fmla="*/ 1828085 h 3357396"/>
              <a:gd name="connsiteX92" fmla="*/ 2681315 w 3859699"/>
              <a:gd name="connsiteY92" fmla="*/ 1970473 h 3357396"/>
              <a:gd name="connsiteX93" fmla="*/ 2384287 w 3859699"/>
              <a:gd name="connsiteY93" fmla="*/ 1873900 h 3357396"/>
              <a:gd name="connsiteX94" fmla="*/ 2293891 w 3859699"/>
              <a:gd name="connsiteY94" fmla="*/ 1830041 h 3357396"/>
              <a:gd name="connsiteX95" fmla="*/ 2285757 w 3859699"/>
              <a:gd name="connsiteY95" fmla="*/ 1830556 h 3357396"/>
              <a:gd name="connsiteX96" fmla="*/ 2282257 w 3859699"/>
              <a:gd name="connsiteY96" fmla="*/ 1815216 h 3357396"/>
              <a:gd name="connsiteX97" fmla="*/ 2276698 w 3859699"/>
              <a:gd name="connsiteY97" fmla="*/ 1810171 h 3357396"/>
              <a:gd name="connsiteX98" fmla="*/ 2248075 w 3859699"/>
              <a:gd name="connsiteY98" fmla="*/ 1803478 h 3357396"/>
              <a:gd name="connsiteX99" fmla="*/ 2223468 w 3859699"/>
              <a:gd name="connsiteY99" fmla="*/ 1792565 h 3357396"/>
              <a:gd name="connsiteX100" fmla="*/ 2227278 w 3859699"/>
              <a:gd name="connsiteY100" fmla="*/ 1707009 h 3357396"/>
              <a:gd name="connsiteX101" fmla="*/ 2229131 w 3859699"/>
              <a:gd name="connsiteY101" fmla="*/ 1663664 h 3357396"/>
              <a:gd name="connsiteX102" fmla="*/ 2231603 w 3859699"/>
              <a:gd name="connsiteY102" fmla="*/ 1645851 h 3357396"/>
              <a:gd name="connsiteX103" fmla="*/ 2263004 w 3859699"/>
              <a:gd name="connsiteY103" fmla="*/ 1472885 h 3357396"/>
              <a:gd name="connsiteX104" fmla="*/ 2654441 w 3859699"/>
              <a:gd name="connsiteY104" fmla="*/ 1313317 h 3357396"/>
              <a:gd name="connsiteX105" fmla="*/ 2723424 w 3859699"/>
              <a:gd name="connsiteY105" fmla="*/ 1392683 h 3357396"/>
              <a:gd name="connsiteX106" fmla="*/ 2713128 w 3859699"/>
              <a:gd name="connsiteY106" fmla="*/ 1425937 h 3357396"/>
              <a:gd name="connsiteX107" fmla="*/ 2697274 w 3859699"/>
              <a:gd name="connsiteY107" fmla="*/ 1438087 h 3357396"/>
              <a:gd name="connsiteX108" fmla="*/ 2675446 w 3859699"/>
              <a:gd name="connsiteY108" fmla="*/ 1420276 h 3357396"/>
              <a:gd name="connsiteX109" fmla="*/ 2676387 w 3859699"/>
              <a:gd name="connsiteY109" fmla="*/ 1450651 h 3357396"/>
              <a:gd name="connsiteX110" fmla="*/ 2684546 w 3859699"/>
              <a:gd name="connsiteY110" fmla="*/ 1451260 h 3357396"/>
              <a:gd name="connsiteX111" fmla="*/ 2684610 w 3859699"/>
              <a:gd name="connsiteY111" fmla="*/ 1451162 h 3357396"/>
              <a:gd name="connsiteX112" fmla="*/ 2684609 w 3859699"/>
              <a:gd name="connsiteY112" fmla="*/ 1451265 h 3357396"/>
              <a:gd name="connsiteX113" fmla="*/ 2684546 w 3859699"/>
              <a:gd name="connsiteY113" fmla="*/ 1451260 h 3357396"/>
              <a:gd name="connsiteX114" fmla="*/ 2667146 w 3859699"/>
              <a:gd name="connsiteY114" fmla="*/ 1477957 h 3357396"/>
              <a:gd name="connsiteX115" fmla="*/ 2676784 w 3859699"/>
              <a:gd name="connsiteY115" fmla="*/ 1512936 h 3357396"/>
              <a:gd name="connsiteX116" fmla="*/ 2620262 w 3859699"/>
              <a:gd name="connsiteY116" fmla="*/ 1411833 h 3357396"/>
              <a:gd name="connsiteX117" fmla="*/ 2627675 w 3859699"/>
              <a:gd name="connsiteY117" fmla="*/ 1382387 h 3357396"/>
              <a:gd name="connsiteX118" fmla="*/ 2654441 w 3859699"/>
              <a:gd name="connsiteY118" fmla="*/ 1313317 h 3357396"/>
              <a:gd name="connsiteX119" fmla="*/ 2300789 w 3859699"/>
              <a:gd name="connsiteY119" fmla="*/ 1402361 h 3357396"/>
              <a:gd name="connsiteX120" fmla="*/ 2473550 w 3859699"/>
              <a:gd name="connsiteY120" fmla="*/ 1546396 h 3357396"/>
              <a:gd name="connsiteX121" fmla="*/ 2473550 w 3859699"/>
              <a:gd name="connsiteY121" fmla="*/ 1546294 h 3357396"/>
              <a:gd name="connsiteX122" fmla="*/ 2604819 w 3859699"/>
              <a:gd name="connsiteY122" fmla="*/ 1665002 h 3357396"/>
              <a:gd name="connsiteX123" fmla="*/ 2528528 w 3859699"/>
              <a:gd name="connsiteY123" fmla="*/ 1629276 h 3357396"/>
              <a:gd name="connsiteX124" fmla="*/ 2441118 w 3859699"/>
              <a:gd name="connsiteY124" fmla="*/ 1554942 h 3357396"/>
              <a:gd name="connsiteX125" fmla="*/ 2300789 w 3859699"/>
              <a:gd name="connsiteY125" fmla="*/ 1402361 h 3357396"/>
              <a:gd name="connsiteX126" fmla="*/ 2768313 w 3859699"/>
              <a:gd name="connsiteY126" fmla="*/ 1246074 h 3357396"/>
              <a:gd name="connsiteX127" fmla="*/ 2753281 w 3859699"/>
              <a:gd name="connsiteY127" fmla="*/ 1365709 h 3357396"/>
              <a:gd name="connsiteX128" fmla="*/ 2838117 w 3859699"/>
              <a:gd name="connsiteY128" fmla="*/ 1288388 h 3357396"/>
              <a:gd name="connsiteX129" fmla="*/ 2825144 w 3859699"/>
              <a:gd name="connsiteY129" fmla="*/ 1452398 h 3357396"/>
              <a:gd name="connsiteX130" fmla="*/ 2813613 w 3859699"/>
              <a:gd name="connsiteY130" fmla="*/ 1435822 h 3357396"/>
              <a:gd name="connsiteX131" fmla="*/ 2812584 w 3859699"/>
              <a:gd name="connsiteY131" fmla="*/ 1342338 h 3357396"/>
              <a:gd name="connsiteX132" fmla="*/ 2729086 w 3859699"/>
              <a:gd name="connsiteY132" fmla="*/ 1381461 h 3357396"/>
              <a:gd name="connsiteX133" fmla="*/ 2697067 w 3859699"/>
              <a:gd name="connsiteY133" fmla="*/ 1302905 h 3357396"/>
              <a:gd name="connsiteX134" fmla="*/ 2739896 w 3859699"/>
              <a:gd name="connsiteY134" fmla="*/ 1383520 h 3357396"/>
              <a:gd name="connsiteX135" fmla="*/ 2739896 w 3859699"/>
              <a:gd name="connsiteY135" fmla="*/ 1383417 h 3357396"/>
              <a:gd name="connsiteX136" fmla="*/ 2750192 w 3859699"/>
              <a:gd name="connsiteY136" fmla="*/ 1342955 h 3357396"/>
              <a:gd name="connsiteX137" fmla="*/ 2768313 w 3859699"/>
              <a:gd name="connsiteY137" fmla="*/ 1246074 h 3357396"/>
              <a:gd name="connsiteX138" fmla="*/ 2575991 w 3859699"/>
              <a:gd name="connsiteY138" fmla="*/ 1285402 h 3357396"/>
              <a:gd name="connsiteX139" fmla="*/ 2604304 w 3859699"/>
              <a:gd name="connsiteY139" fmla="*/ 1347176 h 3357396"/>
              <a:gd name="connsiteX140" fmla="*/ 2601937 w 3859699"/>
              <a:gd name="connsiteY140" fmla="*/ 1448794 h 3357396"/>
              <a:gd name="connsiteX141" fmla="*/ 2602657 w 3859699"/>
              <a:gd name="connsiteY141" fmla="*/ 1458266 h 3357396"/>
              <a:gd name="connsiteX142" fmla="*/ 2600906 w 3859699"/>
              <a:gd name="connsiteY142" fmla="*/ 1457133 h 3357396"/>
              <a:gd name="connsiteX143" fmla="*/ 2594317 w 3859699"/>
              <a:gd name="connsiteY143" fmla="*/ 1423466 h 3357396"/>
              <a:gd name="connsiteX144" fmla="*/ 2587728 w 3859699"/>
              <a:gd name="connsiteY144" fmla="*/ 1388358 h 3357396"/>
              <a:gd name="connsiteX145" fmla="*/ 2585257 w 3859699"/>
              <a:gd name="connsiteY145" fmla="*/ 1384961 h 3357396"/>
              <a:gd name="connsiteX146" fmla="*/ 2581346 w 3859699"/>
              <a:gd name="connsiteY146" fmla="*/ 1386506 h 3357396"/>
              <a:gd name="connsiteX147" fmla="*/ 2568373 w 3859699"/>
              <a:gd name="connsiteY147" fmla="*/ 1416672 h 3357396"/>
              <a:gd name="connsiteX148" fmla="*/ 2558077 w 3859699"/>
              <a:gd name="connsiteY148" fmla="*/ 1434586 h 3357396"/>
              <a:gd name="connsiteX149" fmla="*/ 2554782 w 3859699"/>
              <a:gd name="connsiteY149" fmla="*/ 1436440 h 3357396"/>
              <a:gd name="connsiteX150" fmla="*/ 2544487 w 3859699"/>
              <a:gd name="connsiteY150" fmla="*/ 1423879 h 3357396"/>
              <a:gd name="connsiteX151" fmla="*/ 2557768 w 3859699"/>
              <a:gd name="connsiteY151" fmla="*/ 1432116 h 3357396"/>
              <a:gd name="connsiteX152" fmla="*/ 2557768 w 3859699"/>
              <a:gd name="connsiteY152" fmla="*/ 1432012 h 3357396"/>
              <a:gd name="connsiteX153" fmla="*/ 2557767 w 3859699"/>
              <a:gd name="connsiteY153" fmla="*/ 1390830 h 3357396"/>
              <a:gd name="connsiteX154" fmla="*/ 2558591 w 3859699"/>
              <a:gd name="connsiteY154" fmla="*/ 1357574 h 3357396"/>
              <a:gd name="connsiteX155" fmla="*/ 2562607 w 3859699"/>
              <a:gd name="connsiteY155" fmla="*/ 1308362 h 3357396"/>
              <a:gd name="connsiteX156" fmla="*/ 2573932 w 3859699"/>
              <a:gd name="connsiteY156" fmla="*/ 1288388 h 3357396"/>
              <a:gd name="connsiteX157" fmla="*/ 2575991 w 3859699"/>
              <a:gd name="connsiteY157" fmla="*/ 1285402 h 3357396"/>
              <a:gd name="connsiteX158" fmla="*/ 2241795 w 3859699"/>
              <a:gd name="connsiteY158" fmla="*/ 1342749 h 3357396"/>
              <a:gd name="connsiteX159" fmla="*/ 2375638 w 3859699"/>
              <a:gd name="connsiteY159" fmla="*/ 1566782 h 3357396"/>
              <a:gd name="connsiteX160" fmla="*/ 2241795 w 3859699"/>
              <a:gd name="connsiteY160" fmla="*/ 1342852 h 3357396"/>
              <a:gd name="connsiteX161" fmla="*/ 2805776 w 3859699"/>
              <a:gd name="connsiteY161" fmla="*/ 1148029 h 3357396"/>
              <a:gd name="connsiteX162" fmla="*/ 2807952 w 3859699"/>
              <a:gd name="connsiteY162" fmla="*/ 1147956 h 3357396"/>
              <a:gd name="connsiteX163" fmla="*/ 2807952 w 3859699"/>
              <a:gd name="connsiteY163" fmla="*/ 1147853 h 3357396"/>
              <a:gd name="connsiteX164" fmla="*/ 2757709 w 3859699"/>
              <a:gd name="connsiteY164" fmla="*/ 1197067 h 3357396"/>
              <a:gd name="connsiteX165" fmla="*/ 2805776 w 3859699"/>
              <a:gd name="connsiteY165" fmla="*/ 1148029 h 3357396"/>
              <a:gd name="connsiteX166" fmla="*/ 1665749 w 3859699"/>
              <a:gd name="connsiteY166" fmla="*/ 1414840 h 3357396"/>
              <a:gd name="connsiteX167" fmla="*/ 1669976 w 3859699"/>
              <a:gd name="connsiteY167" fmla="*/ 1494919 h 3357396"/>
              <a:gd name="connsiteX168" fmla="*/ 1680272 w 3859699"/>
              <a:gd name="connsiteY168" fmla="*/ 1545264 h 3357396"/>
              <a:gd name="connsiteX169" fmla="*/ 1645988 w 3859699"/>
              <a:gd name="connsiteY169" fmla="*/ 1549074 h 3357396"/>
              <a:gd name="connsiteX170" fmla="*/ 1658652 w 3859699"/>
              <a:gd name="connsiteY170" fmla="*/ 1444471 h 3357396"/>
              <a:gd name="connsiteX171" fmla="*/ 1658652 w 3859699"/>
              <a:gd name="connsiteY171" fmla="*/ 1444367 h 3357396"/>
              <a:gd name="connsiteX172" fmla="*/ 1665749 w 3859699"/>
              <a:gd name="connsiteY172" fmla="*/ 1414840 h 3357396"/>
              <a:gd name="connsiteX173" fmla="*/ 2598950 w 3859699"/>
              <a:gd name="connsiteY173" fmla="*/ 1100802 h 3357396"/>
              <a:gd name="connsiteX174" fmla="*/ 2624071 w 3859699"/>
              <a:gd name="connsiteY174" fmla="*/ 1146103 h 3357396"/>
              <a:gd name="connsiteX175" fmla="*/ 2632823 w 3859699"/>
              <a:gd name="connsiteY175" fmla="*/ 1169165 h 3357396"/>
              <a:gd name="connsiteX176" fmla="*/ 2655988 w 3859699"/>
              <a:gd name="connsiteY176" fmla="*/ 1194903 h 3357396"/>
              <a:gd name="connsiteX177" fmla="*/ 2666284 w 3859699"/>
              <a:gd name="connsiteY177" fmla="*/ 1194080 h 3357396"/>
              <a:gd name="connsiteX178" fmla="*/ 2687492 w 3859699"/>
              <a:gd name="connsiteY178" fmla="*/ 1151148 h 3357396"/>
              <a:gd name="connsiteX179" fmla="*/ 2716835 w 3859699"/>
              <a:gd name="connsiteY179" fmla="*/ 1245455 h 3357396"/>
              <a:gd name="connsiteX180" fmla="*/ 2708907 w 3859699"/>
              <a:gd name="connsiteY180" fmla="*/ 1233101 h 3357396"/>
              <a:gd name="connsiteX181" fmla="*/ 2697517 w 3859699"/>
              <a:gd name="connsiteY181" fmla="*/ 1231504 h 3357396"/>
              <a:gd name="connsiteX182" fmla="*/ 2694287 w 3859699"/>
              <a:gd name="connsiteY182" fmla="*/ 1238352 h 3357396"/>
              <a:gd name="connsiteX183" fmla="*/ 2686256 w 3859699"/>
              <a:gd name="connsiteY183" fmla="*/ 1256370 h 3357396"/>
              <a:gd name="connsiteX184" fmla="*/ 2669063 w 3859699"/>
              <a:gd name="connsiteY184" fmla="*/ 1254001 h 3357396"/>
              <a:gd name="connsiteX185" fmla="*/ 2657674 w 3859699"/>
              <a:gd name="connsiteY185" fmla="*/ 1255618 h 3357396"/>
              <a:gd name="connsiteX186" fmla="*/ 2656605 w 3859699"/>
              <a:gd name="connsiteY186" fmla="*/ 1263473 h 3357396"/>
              <a:gd name="connsiteX187" fmla="*/ 2657635 w 3859699"/>
              <a:gd name="connsiteY187" fmla="*/ 1266459 h 3357396"/>
              <a:gd name="connsiteX188" fmla="*/ 2655473 w 3859699"/>
              <a:gd name="connsiteY188" fmla="*/ 1268724 h 3357396"/>
              <a:gd name="connsiteX189" fmla="*/ 2629322 w 3859699"/>
              <a:gd name="connsiteY189" fmla="*/ 1293536 h 3357396"/>
              <a:gd name="connsiteX190" fmla="*/ 2628704 w 3859699"/>
              <a:gd name="connsiteY190" fmla="*/ 1210142 h 3357396"/>
              <a:gd name="connsiteX191" fmla="*/ 2624381 w 3859699"/>
              <a:gd name="connsiteY191" fmla="*/ 1199846 h 3357396"/>
              <a:gd name="connsiteX192" fmla="*/ 2621085 w 3859699"/>
              <a:gd name="connsiteY192" fmla="*/ 1199126 h 3357396"/>
              <a:gd name="connsiteX193" fmla="*/ 2613878 w 3859699"/>
              <a:gd name="connsiteY193" fmla="*/ 1203552 h 3357396"/>
              <a:gd name="connsiteX194" fmla="*/ 2598847 w 3859699"/>
              <a:gd name="connsiteY194" fmla="*/ 1224143 h 3357396"/>
              <a:gd name="connsiteX195" fmla="*/ 2594419 w 3859699"/>
              <a:gd name="connsiteY195" fmla="*/ 1229497 h 3357396"/>
              <a:gd name="connsiteX196" fmla="*/ 2592670 w 3859699"/>
              <a:gd name="connsiteY196" fmla="*/ 1155780 h 3357396"/>
              <a:gd name="connsiteX197" fmla="*/ 2592670 w 3859699"/>
              <a:gd name="connsiteY197" fmla="*/ 1155678 h 3357396"/>
              <a:gd name="connsiteX198" fmla="*/ 2598950 w 3859699"/>
              <a:gd name="connsiteY198" fmla="*/ 1100802 h 3357396"/>
              <a:gd name="connsiteX199" fmla="*/ 2393346 w 3859699"/>
              <a:gd name="connsiteY199" fmla="*/ 1158355 h 3357396"/>
              <a:gd name="connsiteX200" fmla="*/ 2398700 w 3859699"/>
              <a:gd name="connsiteY200" fmla="*/ 1160208 h 3357396"/>
              <a:gd name="connsiteX201" fmla="*/ 2423822 w 3859699"/>
              <a:gd name="connsiteY201" fmla="*/ 1172048 h 3357396"/>
              <a:gd name="connsiteX202" fmla="*/ 2467578 w 3859699"/>
              <a:gd name="connsiteY202" fmla="*/ 1259664 h 3357396"/>
              <a:gd name="connsiteX203" fmla="*/ 2534191 w 3859699"/>
              <a:gd name="connsiteY203" fmla="*/ 1430364 h 3357396"/>
              <a:gd name="connsiteX204" fmla="*/ 2532750 w 3859699"/>
              <a:gd name="connsiteY204" fmla="*/ 1436337 h 3357396"/>
              <a:gd name="connsiteX205" fmla="*/ 2532750 w 3859699"/>
              <a:gd name="connsiteY205" fmla="*/ 1436233 h 3357396"/>
              <a:gd name="connsiteX206" fmla="*/ 2524512 w 3859699"/>
              <a:gd name="connsiteY206" fmla="*/ 1445602 h 3357396"/>
              <a:gd name="connsiteX207" fmla="*/ 2393346 w 3859699"/>
              <a:gd name="connsiteY207" fmla="*/ 1158355 h 3357396"/>
              <a:gd name="connsiteX208" fmla="*/ 2769136 w 3859699"/>
              <a:gd name="connsiteY208" fmla="*/ 957385 h 3357396"/>
              <a:gd name="connsiteX209" fmla="*/ 2776137 w 3859699"/>
              <a:gd name="connsiteY209" fmla="*/ 1087006 h 3357396"/>
              <a:gd name="connsiteX210" fmla="*/ 2767592 w 3859699"/>
              <a:gd name="connsiteY210" fmla="*/ 1099670 h 3357396"/>
              <a:gd name="connsiteX211" fmla="*/ 2763577 w 3859699"/>
              <a:gd name="connsiteY211" fmla="*/ 1099670 h 3357396"/>
              <a:gd name="connsiteX212" fmla="*/ 2769136 w 3859699"/>
              <a:gd name="connsiteY212" fmla="*/ 1118304 h 3357396"/>
              <a:gd name="connsiteX213" fmla="*/ 2744015 w 3859699"/>
              <a:gd name="connsiteY213" fmla="*/ 1168960 h 3357396"/>
              <a:gd name="connsiteX214" fmla="*/ 2769136 w 3859699"/>
              <a:gd name="connsiteY214" fmla="*/ 957487 h 3357396"/>
              <a:gd name="connsiteX215" fmla="*/ 808131 w 3859699"/>
              <a:gd name="connsiteY215" fmla="*/ 1516642 h 3357396"/>
              <a:gd name="connsiteX216" fmla="*/ 1494745 w 3859699"/>
              <a:gd name="connsiteY216" fmla="*/ 1557825 h 3357396"/>
              <a:gd name="connsiteX217" fmla="*/ 1384274 w 3859699"/>
              <a:gd name="connsiteY217" fmla="*/ 1570076 h 3357396"/>
              <a:gd name="connsiteX218" fmla="*/ 1343606 w 3859699"/>
              <a:gd name="connsiteY218" fmla="*/ 1570694 h 3357396"/>
              <a:gd name="connsiteX219" fmla="*/ 1207395 w 3859699"/>
              <a:gd name="connsiteY219" fmla="*/ 1561119 h 3357396"/>
              <a:gd name="connsiteX220" fmla="*/ 985010 w 3859699"/>
              <a:gd name="connsiteY220" fmla="*/ 1546499 h 3357396"/>
              <a:gd name="connsiteX221" fmla="*/ 985009 w 3859699"/>
              <a:gd name="connsiteY221" fmla="*/ 1548558 h 3357396"/>
              <a:gd name="connsiteX222" fmla="*/ 954843 w 3859699"/>
              <a:gd name="connsiteY222" fmla="*/ 1534866 h 3357396"/>
              <a:gd name="connsiteX223" fmla="*/ 1627147 w 3859699"/>
              <a:gd name="connsiteY223" fmla="*/ 1234645 h 3357396"/>
              <a:gd name="connsiteX224" fmla="*/ 1613763 w 3859699"/>
              <a:gd name="connsiteY224" fmla="*/ 1488638 h 3357396"/>
              <a:gd name="connsiteX225" fmla="*/ 1627147 w 3859699"/>
              <a:gd name="connsiteY225" fmla="*/ 1234748 h 3357396"/>
              <a:gd name="connsiteX226" fmla="*/ 1735730 w 3859699"/>
              <a:gd name="connsiteY226" fmla="*/ 943844 h 3357396"/>
              <a:gd name="connsiteX227" fmla="*/ 1741017 w 3859699"/>
              <a:gd name="connsiteY227" fmla="*/ 946573 h 3357396"/>
              <a:gd name="connsiteX228" fmla="*/ 1743692 w 3859699"/>
              <a:gd name="connsiteY228" fmla="*/ 1404112 h 3357396"/>
              <a:gd name="connsiteX229" fmla="*/ 1743693 w 3859699"/>
              <a:gd name="connsiteY229" fmla="*/ 1413789 h 3357396"/>
              <a:gd name="connsiteX230" fmla="*/ 1745444 w 3859699"/>
              <a:gd name="connsiteY230" fmla="*/ 1582637 h 3357396"/>
              <a:gd name="connsiteX231" fmla="*/ 1740810 w 3859699"/>
              <a:gd name="connsiteY231" fmla="*/ 1589329 h 3357396"/>
              <a:gd name="connsiteX232" fmla="*/ 1737310 w 3859699"/>
              <a:gd name="connsiteY232" fmla="*/ 1590153 h 3357396"/>
              <a:gd name="connsiteX233" fmla="*/ 1732676 w 3859699"/>
              <a:gd name="connsiteY233" fmla="*/ 1588712 h 3357396"/>
              <a:gd name="connsiteX234" fmla="*/ 1698702 w 3859699"/>
              <a:gd name="connsiteY234" fmla="*/ 1293330 h 3357396"/>
              <a:gd name="connsiteX235" fmla="*/ 1698701 w 3859699"/>
              <a:gd name="connsiteY235" fmla="*/ 1293227 h 3357396"/>
              <a:gd name="connsiteX236" fmla="*/ 1718778 w 3859699"/>
              <a:gd name="connsiteY236" fmla="*/ 1051281 h 3357396"/>
              <a:gd name="connsiteX237" fmla="*/ 1726808 w 3859699"/>
              <a:gd name="connsiteY237" fmla="*/ 951103 h 3357396"/>
              <a:gd name="connsiteX238" fmla="*/ 1735730 w 3859699"/>
              <a:gd name="connsiteY238" fmla="*/ 943844 h 3357396"/>
              <a:gd name="connsiteX239" fmla="*/ 1594716 w 3859699"/>
              <a:gd name="connsiteY239" fmla="*/ 939264 h 3357396"/>
              <a:gd name="connsiteX240" fmla="*/ 1597290 w 3859699"/>
              <a:gd name="connsiteY240" fmla="*/ 1349956 h 3357396"/>
              <a:gd name="connsiteX241" fmla="*/ 1597290 w 3859699"/>
              <a:gd name="connsiteY241" fmla="*/ 1349853 h 3357396"/>
              <a:gd name="connsiteX242" fmla="*/ 1593069 w 3859699"/>
              <a:gd name="connsiteY242" fmla="*/ 1197272 h 3357396"/>
              <a:gd name="connsiteX243" fmla="*/ 1594716 w 3859699"/>
              <a:gd name="connsiteY243" fmla="*/ 939264 h 3357396"/>
              <a:gd name="connsiteX244" fmla="*/ 1513792 w 3859699"/>
              <a:gd name="connsiteY244" fmla="*/ 661283 h 3357396"/>
              <a:gd name="connsiteX245" fmla="*/ 1529646 w 3859699"/>
              <a:gd name="connsiteY245" fmla="*/ 797597 h 3357396"/>
              <a:gd name="connsiteX246" fmla="*/ 1537678 w 3859699"/>
              <a:gd name="connsiteY246" fmla="*/ 804494 h 3357396"/>
              <a:gd name="connsiteX247" fmla="*/ 1545708 w 3859699"/>
              <a:gd name="connsiteY247" fmla="*/ 797597 h 3357396"/>
              <a:gd name="connsiteX248" fmla="*/ 1548076 w 3859699"/>
              <a:gd name="connsiteY248" fmla="*/ 780609 h 3357396"/>
              <a:gd name="connsiteX249" fmla="*/ 1545502 w 3859699"/>
              <a:gd name="connsiteY249" fmla="*/ 870490 h 3357396"/>
              <a:gd name="connsiteX250" fmla="*/ 1544267 w 3859699"/>
              <a:gd name="connsiteY250" fmla="*/ 870489 h 3357396"/>
              <a:gd name="connsiteX251" fmla="*/ 1533972 w 3859699"/>
              <a:gd name="connsiteY251" fmla="*/ 1008965 h 3357396"/>
              <a:gd name="connsiteX252" fmla="*/ 1526662 w 3859699"/>
              <a:gd name="connsiteY252" fmla="*/ 880167 h 3357396"/>
              <a:gd name="connsiteX253" fmla="*/ 1513792 w 3859699"/>
              <a:gd name="connsiteY253" fmla="*/ 661283 h 3357396"/>
              <a:gd name="connsiteX254" fmla="*/ 1135016 w 3859699"/>
              <a:gd name="connsiteY254" fmla="*/ 705451 h 3357396"/>
              <a:gd name="connsiteX255" fmla="*/ 1235914 w 3859699"/>
              <a:gd name="connsiteY255" fmla="*/ 944206 h 3357396"/>
              <a:gd name="connsiteX256" fmla="*/ 1332589 w 3859699"/>
              <a:gd name="connsiteY256" fmla="*/ 1174725 h 3357396"/>
              <a:gd name="connsiteX257" fmla="*/ 1135016 w 3859699"/>
              <a:gd name="connsiteY257" fmla="*/ 705451 h 3357396"/>
              <a:gd name="connsiteX258" fmla="*/ 308176 w 3859699"/>
              <a:gd name="connsiteY258" fmla="*/ 823130 h 3357396"/>
              <a:gd name="connsiteX259" fmla="*/ 552181 w 3859699"/>
              <a:gd name="connsiteY259" fmla="*/ 1003097 h 3357396"/>
              <a:gd name="connsiteX260" fmla="*/ 998702 w 3859699"/>
              <a:gd name="connsiteY260" fmla="*/ 1305788 h 3357396"/>
              <a:gd name="connsiteX261" fmla="*/ 836443 w 3859699"/>
              <a:gd name="connsiteY261" fmla="*/ 1214261 h 3357396"/>
              <a:gd name="connsiteX262" fmla="*/ 827899 w 3859699"/>
              <a:gd name="connsiteY262" fmla="*/ 1208289 h 3357396"/>
              <a:gd name="connsiteX263" fmla="*/ 764786 w 3859699"/>
              <a:gd name="connsiteY263" fmla="*/ 1166076 h 3357396"/>
              <a:gd name="connsiteX264" fmla="*/ 308176 w 3859699"/>
              <a:gd name="connsiteY264" fmla="*/ 823130 h 3357396"/>
              <a:gd name="connsiteX265" fmla="*/ 1555284 w 3859699"/>
              <a:gd name="connsiteY265" fmla="*/ 71961 h 3357396"/>
              <a:gd name="connsiteX266" fmla="*/ 1557137 w 3859699"/>
              <a:gd name="connsiteY266" fmla="*/ 256252 h 3357396"/>
              <a:gd name="connsiteX267" fmla="*/ 1557754 w 3859699"/>
              <a:gd name="connsiteY267" fmla="*/ 373211 h 3357396"/>
              <a:gd name="connsiteX268" fmla="*/ 1551166 w 3859699"/>
              <a:gd name="connsiteY268" fmla="*/ 289405 h 3357396"/>
              <a:gd name="connsiteX269" fmla="*/ 1542825 w 3859699"/>
              <a:gd name="connsiteY269" fmla="*/ 282095 h 3357396"/>
              <a:gd name="connsiteX270" fmla="*/ 1534898 w 3859699"/>
              <a:gd name="connsiteY270" fmla="*/ 289919 h 3357396"/>
              <a:gd name="connsiteX271" fmla="*/ 1536957 w 3859699"/>
              <a:gd name="connsiteY271" fmla="*/ 481830 h 3357396"/>
              <a:gd name="connsiteX272" fmla="*/ 1536956 w 3859699"/>
              <a:gd name="connsiteY272" fmla="*/ 728925 h 3357396"/>
              <a:gd name="connsiteX273" fmla="*/ 1555284 w 3859699"/>
              <a:gd name="connsiteY273" fmla="*/ 71961 h 3357396"/>
              <a:gd name="connsiteX274" fmla="*/ 693540 w 3859699"/>
              <a:gd name="connsiteY274" fmla="*/ 231441 h 3357396"/>
              <a:gd name="connsiteX275" fmla="*/ 689834 w 3859699"/>
              <a:gd name="connsiteY275" fmla="*/ 238235 h 3357396"/>
              <a:gd name="connsiteX276" fmla="*/ 689834 w 3859699"/>
              <a:gd name="connsiteY276" fmla="*/ 269122 h 3357396"/>
              <a:gd name="connsiteX277" fmla="*/ 690658 w 3859699"/>
              <a:gd name="connsiteY277" fmla="*/ 272623 h 3357396"/>
              <a:gd name="connsiteX278" fmla="*/ 721338 w 3859699"/>
              <a:gd name="connsiteY278" fmla="*/ 333469 h 3357396"/>
              <a:gd name="connsiteX279" fmla="*/ 1034016 w 3859699"/>
              <a:gd name="connsiteY279" fmla="*/ 1003303 h 3357396"/>
              <a:gd name="connsiteX280" fmla="*/ 1051313 w 3859699"/>
              <a:gd name="connsiteY280" fmla="*/ 1031924 h 3357396"/>
              <a:gd name="connsiteX281" fmla="*/ 1053268 w 3859699"/>
              <a:gd name="connsiteY281" fmla="*/ 1034190 h 3357396"/>
              <a:gd name="connsiteX282" fmla="*/ 1161578 w 3859699"/>
              <a:gd name="connsiteY282" fmla="*/ 1158458 h 3357396"/>
              <a:gd name="connsiteX283" fmla="*/ 1270609 w 3859699"/>
              <a:gd name="connsiteY283" fmla="*/ 1279740 h 3357396"/>
              <a:gd name="connsiteX284" fmla="*/ 1278434 w 3859699"/>
              <a:gd name="connsiteY284" fmla="*/ 1273769 h 3357396"/>
              <a:gd name="connsiteX285" fmla="*/ 1281831 w 3859699"/>
              <a:gd name="connsiteY285" fmla="*/ 1261620 h 3357396"/>
              <a:gd name="connsiteX286" fmla="*/ 1281831 w 3859699"/>
              <a:gd name="connsiteY286" fmla="*/ 1256781 h 3357396"/>
              <a:gd name="connsiteX287" fmla="*/ 1209762 w 3859699"/>
              <a:gd name="connsiteY287" fmla="*/ 1142912 h 3357396"/>
              <a:gd name="connsiteX288" fmla="*/ 1169403 w 3859699"/>
              <a:gd name="connsiteY288" fmla="*/ 1088448 h 3357396"/>
              <a:gd name="connsiteX289" fmla="*/ 926530 w 3859699"/>
              <a:gd name="connsiteY289" fmla="*/ 711629 h 3357396"/>
              <a:gd name="connsiteX290" fmla="*/ 893173 w 3859699"/>
              <a:gd name="connsiteY290" fmla="*/ 654487 h 3357396"/>
              <a:gd name="connsiteX291" fmla="*/ 769625 w 3859699"/>
              <a:gd name="connsiteY291" fmla="*/ 374961 h 3357396"/>
              <a:gd name="connsiteX292" fmla="*/ 701262 w 3859699"/>
              <a:gd name="connsiteY292" fmla="*/ 230822 h 3357396"/>
              <a:gd name="connsiteX293" fmla="*/ 693540 w 3859699"/>
              <a:gd name="connsiteY293" fmla="*/ 231441 h 3357396"/>
              <a:gd name="connsiteX294" fmla="*/ 233327 w 3859699"/>
              <a:gd name="connsiteY294" fmla="*/ 166165 h 3357396"/>
              <a:gd name="connsiteX295" fmla="*/ 229311 w 3859699"/>
              <a:gd name="connsiteY295" fmla="*/ 176461 h 3357396"/>
              <a:gd name="connsiteX296" fmla="*/ 840047 w 3859699"/>
              <a:gd name="connsiteY296" fmla="*/ 1042735 h 3357396"/>
              <a:gd name="connsiteX297" fmla="*/ 870934 w 3859699"/>
              <a:gd name="connsiteY297" fmla="*/ 1075886 h 3357396"/>
              <a:gd name="connsiteX298" fmla="*/ 404130 w 3859699"/>
              <a:gd name="connsiteY298" fmla="*/ 528880 h 3357396"/>
              <a:gd name="connsiteX299" fmla="*/ 232503 w 3859699"/>
              <a:gd name="connsiteY299" fmla="*/ 305466 h 3357396"/>
              <a:gd name="connsiteX300" fmla="*/ 221060 w 3859699"/>
              <a:gd name="connsiteY300" fmla="*/ 304286 h 3357396"/>
              <a:gd name="connsiteX301" fmla="*/ 218809 w 3859699"/>
              <a:gd name="connsiteY301" fmla="*/ 314011 h 3357396"/>
              <a:gd name="connsiteX302" fmla="*/ 1074890 w 3859699"/>
              <a:gd name="connsiteY302" fmla="*/ 1319481 h 3357396"/>
              <a:gd name="connsiteX303" fmla="*/ 196160 w 3859699"/>
              <a:gd name="connsiteY303" fmla="*/ 477814 h 3357396"/>
              <a:gd name="connsiteX304" fmla="*/ 83525 w 3859699"/>
              <a:gd name="connsiteY304" fmla="*/ 338103 h 3357396"/>
              <a:gd name="connsiteX305" fmla="*/ 74774 w 3859699"/>
              <a:gd name="connsiteY305" fmla="*/ 335529 h 3357396"/>
              <a:gd name="connsiteX306" fmla="*/ 64478 w 3859699"/>
              <a:gd name="connsiteY306" fmla="*/ 345825 h 3357396"/>
              <a:gd name="connsiteX307" fmla="*/ 438415 w 3859699"/>
              <a:gd name="connsiteY307" fmla="*/ 848456 h 3357396"/>
              <a:gd name="connsiteX308" fmla="*/ 521913 w 3859699"/>
              <a:gd name="connsiteY308" fmla="*/ 947501 h 3357396"/>
              <a:gd name="connsiteX309" fmla="*/ 343387 w 3859699"/>
              <a:gd name="connsiteY309" fmla="*/ 803362 h 3357396"/>
              <a:gd name="connsiteX310" fmla="*/ 59331 w 3859699"/>
              <a:gd name="connsiteY310" fmla="*/ 584477 h 3357396"/>
              <a:gd name="connsiteX311" fmla="*/ 49035 w 3859699"/>
              <a:gd name="connsiteY311" fmla="*/ 585918 h 3357396"/>
              <a:gd name="connsiteX312" fmla="*/ 49035 w 3859699"/>
              <a:gd name="connsiteY312" fmla="*/ 596214 h 3357396"/>
              <a:gd name="connsiteX313" fmla="*/ 1343606 w 3859699"/>
              <a:gd name="connsiteY313" fmla="*/ 1459811 h 3357396"/>
              <a:gd name="connsiteX314" fmla="*/ 1356784 w 3859699"/>
              <a:gd name="connsiteY314" fmla="*/ 1471856 h 3357396"/>
              <a:gd name="connsiteX315" fmla="*/ 1358329 w 3859699"/>
              <a:gd name="connsiteY315" fmla="*/ 1474018 h 3357396"/>
              <a:gd name="connsiteX316" fmla="*/ 39151 w 3859699"/>
              <a:gd name="connsiteY316" fmla="*/ 853089 h 3357396"/>
              <a:gd name="connsiteX317" fmla="*/ 14853 w 3859699"/>
              <a:gd name="connsiteY317" fmla="*/ 837544 h 3357396"/>
              <a:gd name="connsiteX318" fmla="*/ 5999 w 3859699"/>
              <a:gd name="connsiteY318" fmla="*/ 837544 h 3357396"/>
              <a:gd name="connsiteX319" fmla="*/ 234 w 3859699"/>
              <a:gd name="connsiteY319" fmla="*/ 851134 h 3357396"/>
              <a:gd name="connsiteX320" fmla="*/ 1236428 w 3859699"/>
              <a:gd name="connsiteY320" fmla="*/ 1489462 h 3357396"/>
              <a:gd name="connsiteX321" fmla="*/ 532826 w 3859699"/>
              <a:gd name="connsiteY321" fmla="*/ 1384035 h 3357396"/>
              <a:gd name="connsiteX322" fmla="*/ 384878 w 3859699"/>
              <a:gd name="connsiteY322" fmla="*/ 1345323 h 3357396"/>
              <a:gd name="connsiteX323" fmla="*/ 377054 w 3859699"/>
              <a:gd name="connsiteY323" fmla="*/ 1347485 h 3357396"/>
              <a:gd name="connsiteX324" fmla="*/ 374994 w 3859699"/>
              <a:gd name="connsiteY324" fmla="*/ 1355310 h 3357396"/>
              <a:gd name="connsiteX325" fmla="*/ 631766 w 3859699"/>
              <a:gd name="connsiteY325" fmla="*/ 1464753 h 3357396"/>
              <a:gd name="connsiteX326" fmla="*/ 771685 w 3859699"/>
              <a:gd name="connsiteY326" fmla="*/ 1514171 h 3357396"/>
              <a:gd name="connsiteX327" fmla="*/ 781979 w 3859699"/>
              <a:gd name="connsiteY327" fmla="*/ 1520246 h 3357396"/>
              <a:gd name="connsiteX328" fmla="*/ 453446 w 3859699"/>
              <a:gd name="connsiteY328" fmla="*/ 1533733 h 3357396"/>
              <a:gd name="connsiteX329" fmla="*/ 198527 w 3859699"/>
              <a:gd name="connsiteY329" fmla="*/ 1547941 h 3357396"/>
              <a:gd name="connsiteX330" fmla="*/ 198527 w 3859699"/>
              <a:gd name="connsiteY330" fmla="*/ 1558237 h 3357396"/>
              <a:gd name="connsiteX331" fmla="*/ 205014 w 3859699"/>
              <a:gd name="connsiteY331" fmla="*/ 1562253 h 3357396"/>
              <a:gd name="connsiteX332" fmla="*/ 937752 w 3859699"/>
              <a:gd name="connsiteY332" fmla="*/ 1578313 h 3357396"/>
              <a:gd name="connsiteX333" fmla="*/ 1291510 w 3859699"/>
              <a:gd name="connsiteY333" fmla="*/ 1584490 h 3357396"/>
              <a:gd name="connsiteX334" fmla="*/ 1281214 w 3859699"/>
              <a:gd name="connsiteY334" fmla="*/ 1586344 h 3357396"/>
              <a:gd name="connsiteX335" fmla="*/ 1190510 w 3859699"/>
              <a:gd name="connsiteY335" fmla="*/ 1609611 h 3357396"/>
              <a:gd name="connsiteX336" fmla="*/ 1186288 w 3859699"/>
              <a:gd name="connsiteY336" fmla="*/ 1615686 h 3357396"/>
              <a:gd name="connsiteX337" fmla="*/ 645357 w 3859699"/>
              <a:gd name="connsiteY337" fmla="*/ 1592933 h 3357396"/>
              <a:gd name="connsiteX338" fmla="*/ 635171 w 3859699"/>
              <a:gd name="connsiteY338" fmla="*/ 1598277 h 3357396"/>
              <a:gd name="connsiteX339" fmla="*/ 637841 w 3859699"/>
              <a:gd name="connsiteY339" fmla="*/ 1607038 h 3357396"/>
              <a:gd name="connsiteX340" fmla="*/ 1208630 w 3859699"/>
              <a:gd name="connsiteY340" fmla="*/ 1660679 h 3357396"/>
              <a:gd name="connsiteX341" fmla="*/ 296336 w 3859699"/>
              <a:gd name="connsiteY341" fmla="*/ 1765693 h 3357396"/>
              <a:gd name="connsiteX342" fmla="*/ 288821 w 3859699"/>
              <a:gd name="connsiteY342" fmla="*/ 1770326 h 3357396"/>
              <a:gd name="connsiteX343" fmla="*/ 290158 w 3859699"/>
              <a:gd name="connsiteY343" fmla="*/ 1788447 h 3357396"/>
              <a:gd name="connsiteX344" fmla="*/ 1306130 w 3859699"/>
              <a:gd name="connsiteY344" fmla="*/ 1694756 h 3357396"/>
              <a:gd name="connsiteX345" fmla="*/ 1464991 w 3859699"/>
              <a:gd name="connsiteY345" fmla="*/ 1671179 h 3357396"/>
              <a:gd name="connsiteX346" fmla="*/ 1082612 w 3859699"/>
              <a:gd name="connsiteY346" fmla="*/ 1815318 h 3357396"/>
              <a:gd name="connsiteX347" fmla="*/ 197189 w 3859699"/>
              <a:gd name="connsiteY347" fmla="*/ 2194712 h 3357396"/>
              <a:gd name="connsiteX348" fmla="*/ 193894 w 3859699"/>
              <a:gd name="connsiteY348" fmla="*/ 2205007 h 3357396"/>
              <a:gd name="connsiteX349" fmla="*/ 204190 w 3859699"/>
              <a:gd name="connsiteY349" fmla="*/ 2209537 h 3357396"/>
              <a:gd name="connsiteX350" fmla="*/ 1027016 w 3859699"/>
              <a:gd name="connsiteY350" fmla="*/ 1897683 h 3357396"/>
              <a:gd name="connsiteX351" fmla="*/ 1411557 w 3859699"/>
              <a:gd name="connsiteY351" fmla="*/ 1740263 h 3357396"/>
              <a:gd name="connsiteX352" fmla="*/ 987687 w 3859699"/>
              <a:gd name="connsiteY352" fmla="*/ 1956472 h 3357396"/>
              <a:gd name="connsiteX353" fmla="*/ 450254 w 3859699"/>
              <a:gd name="connsiteY353" fmla="*/ 2242483 h 3357396"/>
              <a:gd name="connsiteX354" fmla="*/ 448146 w 3859699"/>
              <a:gd name="connsiteY354" fmla="*/ 2253790 h 3357396"/>
              <a:gd name="connsiteX355" fmla="*/ 456741 w 3859699"/>
              <a:gd name="connsiteY355" fmla="*/ 2257104 h 3357396"/>
              <a:gd name="connsiteX356" fmla="*/ 932605 w 3859699"/>
              <a:gd name="connsiteY356" fmla="*/ 2025349 h 3357396"/>
              <a:gd name="connsiteX357" fmla="*/ 1600482 w 3859699"/>
              <a:gd name="connsiteY357" fmla="*/ 1713804 h 3357396"/>
              <a:gd name="connsiteX358" fmla="*/ 1695921 w 3859699"/>
              <a:gd name="connsiteY358" fmla="*/ 1723584 h 3357396"/>
              <a:gd name="connsiteX359" fmla="*/ 1929426 w 3859699"/>
              <a:gd name="connsiteY359" fmla="*/ 1782887 h 3357396"/>
              <a:gd name="connsiteX360" fmla="*/ 1961960 w 3859699"/>
              <a:gd name="connsiteY360" fmla="*/ 1860001 h 3357396"/>
              <a:gd name="connsiteX361" fmla="*/ 2053901 w 3859699"/>
              <a:gd name="connsiteY361" fmla="*/ 2064163 h 3357396"/>
              <a:gd name="connsiteX362" fmla="*/ 1902658 w 3859699"/>
              <a:gd name="connsiteY362" fmla="*/ 1994873 h 3357396"/>
              <a:gd name="connsiteX363" fmla="*/ 1691700 w 3859699"/>
              <a:gd name="connsiteY363" fmla="*/ 1913127 h 3357396"/>
              <a:gd name="connsiteX364" fmla="*/ 1682726 w 3859699"/>
              <a:gd name="connsiteY364" fmla="*/ 1920321 h 3357396"/>
              <a:gd name="connsiteX365" fmla="*/ 1685832 w 3859699"/>
              <a:gd name="connsiteY365" fmla="*/ 1927644 h 3357396"/>
              <a:gd name="connsiteX366" fmla="*/ 2036707 w 3859699"/>
              <a:gd name="connsiteY366" fmla="*/ 2094124 h 3357396"/>
              <a:gd name="connsiteX367" fmla="*/ 1211101 w 3859699"/>
              <a:gd name="connsiteY367" fmla="*/ 2345543 h 3357396"/>
              <a:gd name="connsiteX368" fmla="*/ 1211822 w 3859699"/>
              <a:gd name="connsiteY368" fmla="*/ 2355118 h 3357396"/>
              <a:gd name="connsiteX369" fmla="*/ 1221191 w 3859699"/>
              <a:gd name="connsiteY369" fmla="*/ 2357382 h 3357396"/>
              <a:gd name="connsiteX370" fmla="*/ 2035059 w 3859699"/>
              <a:gd name="connsiteY370" fmla="*/ 2144675 h 3357396"/>
              <a:gd name="connsiteX371" fmla="*/ 1368521 w 3859699"/>
              <a:gd name="connsiteY371" fmla="*/ 2622289 h 3357396"/>
              <a:gd name="connsiteX372" fmla="*/ 1366771 w 3859699"/>
              <a:gd name="connsiteY372" fmla="*/ 2630216 h 3357396"/>
              <a:gd name="connsiteX373" fmla="*/ 1372639 w 3859699"/>
              <a:gd name="connsiteY373" fmla="*/ 2635673 h 3357396"/>
              <a:gd name="connsiteX374" fmla="*/ 1693862 w 3859699"/>
              <a:gd name="connsiteY374" fmla="*/ 2410611 h 3357396"/>
              <a:gd name="connsiteX375" fmla="*/ 2110731 w 3859699"/>
              <a:gd name="connsiteY375" fmla="*/ 2164443 h 3357396"/>
              <a:gd name="connsiteX376" fmla="*/ 2110731 w 3859699"/>
              <a:gd name="connsiteY376" fmla="*/ 2169178 h 3357396"/>
              <a:gd name="connsiteX377" fmla="*/ 2056165 w 3859699"/>
              <a:gd name="connsiteY377" fmla="*/ 2194094 h 3357396"/>
              <a:gd name="connsiteX378" fmla="*/ 2006334 w 3859699"/>
              <a:gd name="connsiteY378" fmla="*/ 2223951 h 3357396"/>
              <a:gd name="connsiteX379" fmla="*/ 2009628 w 3859699"/>
              <a:gd name="connsiteY379" fmla="*/ 2238365 h 3357396"/>
              <a:gd name="connsiteX380" fmla="*/ 2035574 w 3859699"/>
              <a:gd name="connsiteY380" fmla="*/ 2238879 h 3357396"/>
              <a:gd name="connsiteX381" fmla="*/ 2070888 w 3859699"/>
              <a:gd name="connsiteY381" fmla="*/ 2232702 h 3357396"/>
              <a:gd name="connsiteX382" fmla="*/ 2076550 w 3859699"/>
              <a:gd name="connsiteY382" fmla="*/ 2246292 h 3357396"/>
              <a:gd name="connsiteX383" fmla="*/ 2149340 w 3859699"/>
              <a:gd name="connsiteY383" fmla="*/ 2213758 h 3357396"/>
              <a:gd name="connsiteX384" fmla="*/ 2163651 w 3859699"/>
              <a:gd name="connsiteY384" fmla="*/ 2203463 h 3357396"/>
              <a:gd name="connsiteX385" fmla="*/ 2187125 w 3859699"/>
              <a:gd name="connsiteY385" fmla="*/ 2207170 h 3357396"/>
              <a:gd name="connsiteX386" fmla="*/ 2188052 w 3859699"/>
              <a:gd name="connsiteY386" fmla="*/ 2186579 h 3357396"/>
              <a:gd name="connsiteX387" fmla="*/ 2188052 w 3859699"/>
              <a:gd name="connsiteY387" fmla="*/ 2153529 h 3357396"/>
              <a:gd name="connsiteX388" fmla="*/ 2263210 w 3859699"/>
              <a:gd name="connsiteY388" fmla="*/ 2138600 h 3357396"/>
              <a:gd name="connsiteX389" fmla="*/ 2216056 w 3859699"/>
              <a:gd name="connsiteY389" fmla="*/ 2173194 h 3357396"/>
              <a:gd name="connsiteX390" fmla="*/ 2220483 w 3859699"/>
              <a:gd name="connsiteY390" fmla="*/ 2186063 h 3357396"/>
              <a:gd name="connsiteX391" fmla="*/ 2274227 w 3859699"/>
              <a:gd name="connsiteY391" fmla="*/ 2184211 h 3357396"/>
              <a:gd name="connsiteX392" fmla="*/ 2260430 w 3859699"/>
              <a:gd name="connsiteY392" fmla="*/ 2209022 h 3357396"/>
              <a:gd name="connsiteX393" fmla="*/ 2340735 w 3859699"/>
              <a:gd name="connsiteY393" fmla="*/ 2173708 h 3357396"/>
              <a:gd name="connsiteX394" fmla="*/ 2537382 w 3859699"/>
              <a:gd name="connsiteY394" fmla="*/ 2068076 h 3357396"/>
              <a:gd name="connsiteX395" fmla="*/ 1780037 w 3859699"/>
              <a:gd name="connsiteY395" fmla="*/ 2626407 h 3357396"/>
              <a:gd name="connsiteX396" fmla="*/ 1780964 w 3859699"/>
              <a:gd name="connsiteY396" fmla="*/ 2636703 h 3357396"/>
              <a:gd name="connsiteX397" fmla="*/ 1791259 w 3859699"/>
              <a:gd name="connsiteY397" fmla="*/ 2637732 h 3357396"/>
              <a:gd name="connsiteX398" fmla="*/ 2055958 w 3859699"/>
              <a:gd name="connsiteY398" fmla="*/ 2441189 h 3357396"/>
              <a:gd name="connsiteX399" fmla="*/ 2614290 w 3859699"/>
              <a:gd name="connsiteY399" fmla="*/ 2080842 h 3357396"/>
              <a:gd name="connsiteX400" fmla="*/ 2123087 w 3859699"/>
              <a:gd name="connsiteY400" fmla="*/ 2544145 h 3357396"/>
              <a:gd name="connsiteX401" fmla="*/ 2031662 w 3859699"/>
              <a:gd name="connsiteY401" fmla="*/ 2615287 h 3357396"/>
              <a:gd name="connsiteX402" fmla="*/ 2029911 w 3859699"/>
              <a:gd name="connsiteY402" fmla="*/ 2623833 h 3357396"/>
              <a:gd name="connsiteX403" fmla="*/ 2037015 w 3859699"/>
              <a:gd name="connsiteY403" fmla="*/ 2628981 h 3357396"/>
              <a:gd name="connsiteX404" fmla="*/ 2038148 w 3859699"/>
              <a:gd name="connsiteY404" fmla="*/ 2628981 h 3357396"/>
              <a:gd name="connsiteX405" fmla="*/ 2041649 w 3859699"/>
              <a:gd name="connsiteY405" fmla="*/ 2631555 h 3357396"/>
              <a:gd name="connsiteX406" fmla="*/ 2048031 w 3859699"/>
              <a:gd name="connsiteY406" fmla="*/ 2631555 h 3357396"/>
              <a:gd name="connsiteX407" fmla="*/ 2362460 w 3859699"/>
              <a:gd name="connsiteY407" fmla="*/ 2418332 h 3357396"/>
              <a:gd name="connsiteX408" fmla="*/ 2426705 w 3859699"/>
              <a:gd name="connsiteY408" fmla="*/ 2364692 h 3357396"/>
              <a:gd name="connsiteX409" fmla="*/ 2277418 w 3859699"/>
              <a:gd name="connsiteY409" fmla="*/ 2678914 h 3357396"/>
              <a:gd name="connsiteX410" fmla="*/ 2280684 w 3859699"/>
              <a:gd name="connsiteY410" fmla="*/ 2689944 h 3357396"/>
              <a:gd name="connsiteX411" fmla="*/ 2289567 w 3859699"/>
              <a:gd name="connsiteY411" fmla="*/ 2689211 h 3357396"/>
              <a:gd name="connsiteX412" fmla="*/ 2307173 w 3859699"/>
              <a:gd name="connsiteY412" fmla="*/ 2674487 h 3357396"/>
              <a:gd name="connsiteX413" fmla="*/ 2149238 w 3859699"/>
              <a:gd name="connsiteY413" fmla="*/ 2867325 h 3357396"/>
              <a:gd name="connsiteX414" fmla="*/ 2150575 w 3859699"/>
              <a:gd name="connsiteY414" fmla="*/ 2877621 h 3357396"/>
              <a:gd name="connsiteX415" fmla="*/ 2173535 w 3859699"/>
              <a:gd name="connsiteY415" fmla="*/ 2886269 h 3357396"/>
              <a:gd name="connsiteX416" fmla="*/ 2245605 w 3859699"/>
              <a:gd name="connsiteY416" fmla="*/ 2820273 h 3357396"/>
              <a:gd name="connsiteX417" fmla="*/ 2224293 w 3859699"/>
              <a:gd name="connsiteY417" fmla="*/ 2887607 h 3357396"/>
              <a:gd name="connsiteX418" fmla="*/ 2117425 w 3859699"/>
              <a:gd name="connsiteY418" fmla="*/ 3348748 h 3357396"/>
              <a:gd name="connsiteX419" fmla="*/ 2123910 w 3859699"/>
              <a:gd name="connsiteY419" fmla="*/ 3357396 h 3357396"/>
              <a:gd name="connsiteX420" fmla="*/ 2126897 w 3859699"/>
              <a:gd name="connsiteY420" fmla="*/ 3357396 h 3357396"/>
              <a:gd name="connsiteX421" fmla="*/ 2134618 w 3859699"/>
              <a:gd name="connsiteY421" fmla="*/ 3351836 h 3357396"/>
              <a:gd name="connsiteX422" fmla="*/ 2193405 w 3859699"/>
              <a:gd name="connsiteY422" fmla="*/ 3161161 h 3357396"/>
              <a:gd name="connsiteX423" fmla="*/ 2554885 w 3859699"/>
              <a:gd name="connsiteY423" fmla="*/ 2464972 h 3357396"/>
              <a:gd name="connsiteX424" fmla="*/ 2688728 w 3859699"/>
              <a:gd name="connsiteY424" fmla="*/ 2265236 h 3357396"/>
              <a:gd name="connsiteX425" fmla="*/ 2691507 w 3859699"/>
              <a:gd name="connsiteY425" fmla="*/ 2259883 h 3357396"/>
              <a:gd name="connsiteX426" fmla="*/ 2591228 w 3859699"/>
              <a:gd name="connsiteY426" fmla="*/ 2523245 h 3357396"/>
              <a:gd name="connsiteX427" fmla="*/ 2584022 w 3859699"/>
              <a:gd name="connsiteY427" fmla="*/ 2532023 h 3357396"/>
              <a:gd name="connsiteX428" fmla="*/ 2588551 w 3859699"/>
              <a:gd name="connsiteY428" fmla="*/ 2538483 h 3357396"/>
              <a:gd name="connsiteX429" fmla="*/ 2601112 w 3859699"/>
              <a:gd name="connsiteY429" fmla="*/ 2538482 h 3357396"/>
              <a:gd name="connsiteX430" fmla="*/ 2612540 w 3859699"/>
              <a:gd name="connsiteY430" fmla="*/ 2529629 h 3357396"/>
              <a:gd name="connsiteX431" fmla="*/ 2437000 w 3859699"/>
              <a:gd name="connsiteY431" fmla="*/ 2812346 h 3357396"/>
              <a:gd name="connsiteX432" fmla="*/ 2267226 w 3859699"/>
              <a:gd name="connsiteY432" fmla="*/ 3100109 h 3357396"/>
              <a:gd name="connsiteX433" fmla="*/ 2271855 w 3859699"/>
              <a:gd name="connsiteY433" fmla="*/ 3110639 h 3357396"/>
              <a:gd name="connsiteX434" fmla="*/ 2281537 w 3859699"/>
              <a:gd name="connsiteY434" fmla="*/ 3107624 h 3357396"/>
              <a:gd name="connsiteX435" fmla="*/ 2340839 w 3859699"/>
              <a:gd name="connsiteY435" fmla="*/ 3024023 h 3357396"/>
              <a:gd name="connsiteX436" fmla="*/ 2756781 w 3859699"/>
              <a:gd name="connsiteY436" fmla="*/ 2176591 h 3357396"/>
              <a:gd name="connsiteX437" fmla="*/ 2756782 w 3859699"/>
              <a:gd name="connsiteY437" fmla="*/ 2174532 h 3357396"/>
              <a:gd name="connsiteX438" fmla="*/ 2759047 w 3859699"/>
              <a:gd name="connsiteY438" fmla="*/ 2132217 h 3357396"/>
              <a:gd name="connsiteX439" fmla="*/ 3492712 w 3859699"/>
              <a:gd name="connsiteY439" fmla="*/ 2296948 h 3357396"/>
              <a:gd name="connsiteX440" fmla="*/ 3844205 w 3859699"/>
              <a:gd name="connsiteY440" fmla="*/ 2387754 h 3357396"/>
              <a:gd name="connsiteX441" fmla="*/ 3845336 w 3859699"/>
              <a:gd name="connsiteY441" fmla="*/ 2302713 h 3357396"/>
              <a:gd name="connsiteX442" fmla="*/ 3841218 w 3859699"/>
              <a:gd name="connsiteY442" fmla="*/ 2298388 h 3357396"/>
              <a:gd name="connsiteX443" fmla="*/ 3492299 w 3859699"/>
              <a:gd name="connsiteY443" fmla="*/ 2224878 h 3357396"/>
              <a:gd name="connsiteX444" fmla="*/ 3181784 w 3859699"/>
              <a:gd name="connsiteY444" fmla="*/ 2090520 h 3357396"/>
              <a:gd name="connsiteX445" fmla="*/ 3227086 w 3859699"/>
              <a:gd name="connsiteY445" fmla="*/ 1968620 h 3357396"/>
              <a:gd name="connsiteX446" fmla="*/ 3542337 w 3859699"/>
              <a:gd name="connsiteY446" fmla="*/ 671372 h 3357396"/>
              <a:gd name="connsiteX447" fmla="*/ 3534596 w 3859699"/>
              <a:gd name="connsiteY447" fmla="*/ 662864 h 3357396"/>
              <a:gd name="connsiteX448" fmla="*/ 3526276 w 3859699"/>
              <a:gd name="connsiteY448" fmla="*/ 669210 h 3357396"/>
              <a:gd name="connsiteX449" fmla="*/ 3469857 w 3859699"/>
              <a:gd name="connsiteY449" fmla="*/ 943073 h 3357396"/>
              <a:gd name="connsiteX450" fmla="*/ 3175710 w 3859699"/>
              <a:gd name="connsiteY450" fmla="*/ 1935469 h 3357396"/>
              <a:gd name="connsiteX451" fmla="*/ 3122379 w 3859699"/>
              <a:gd name="connsiteY451" fmla="*/ 2086196 h 3357396"/>
              <a:gd name="connsiteX452" fmla="*/ 3012422 w 3859699"/>
              <a:gd name="connsiteY452" fmla="*/ 2051911 h 3357396"/>
              <a:gd name="connsiteX453" fmla="*/ 2941692 w 3859699"/>
              <a:gd name="connsiteY453" fmla="*/ 2025966 h 3357396"/>
              <a:gd name="connsiteX454" fmla="*/ 3107348 w 3859699"/>
              <a:gd name="connsiteY454" fmla="*/ 1826849 h 3357396"/>
              <a:gd name="connsiteX455" fmla="*/ 3372357 w 3859699"/>
              <a:gd name="connsiteY455" fmla="*/ 1030483 h 3357396"/>
              <a:gd name="connsiteX456" fmla="*/ 3364120 w 3859699"/>
              <a:gd name="connsiteY456" fmla="*/ 1024820 h 3357396"/>
              <a:gd name="connsiteX457" fmla="*/ 3356604 w 3859699"/>
              <a:gd name="connsiteY457" fmla="*/ 1031307 h 3357396"/>
              <a:gd name="connsiteX458" fmla="*/ 3024365 w 3859699"/>
              <a:gd name="connsiteY458" fmla="*/ 1868958 h 3357396"/>
              <a:gd name="connsiteX459" fmla="*/ 2896390 w 3859699"/>
              <a:gd name="connsiteY459" fmla="*/ 2002184 h 3357396"/>
              <a:gd name="connsiteX460" fmla="*/ 2896906 w 3859699"/>
              <a:gd name="connsiteY460" fmla="*/ 2001257 h 3357396"/>
              <a:gd name="connsiteX461" fmla="*/ 3435366 w 3859699"/>
              <a:gd name="connsiteY461" fmla="*/ 796669 h 3357396"/>
              <a:gd name="connsiteX462" fmla="*/ 3448235 w 3859699"/>
              <a:gd name="connsiteY462" fmla="*/ 741382 h 3357396"/>
              <a:gd name="connsiteX463" fmla="*/ 3467283 w 3859699"/>
              <a:gd name="connsiteY463" fmla="*/ 677549 h 3357396"/>
              <a:gd name="connsiteX464" fmla="*/ 3465326 w 3859699"/>
              <a:gd name="connsiteY464" fmla="*/ 666327 h 3357396"/>
              <a:gd name="connsiteX465" fmla="*/ 3456575 w 3859699"/>
              <a:gd name="connsiteY465" fmla="*/ 659841 h 3357396"/>
              <a:gd name="connsiteX466" fmla="*/ 3445456 w 3859699"/>
              <a:gd name="connsiteY466" fmla="*/ 661076 h 3357396"/>
              <a:gd name="connsiteX467" fmla="*/ 3368033 w 3859699"/>
              <a:gd name="connsiteY467" fmla="*/ 820968 h 3357396"/>
              <a:gd name="connsiteX468" fmla="*/ 3363399 w 3859699"/>
              <a:gd name="connsiteY468" fmla="*/ 834043 h 3357396"/>
              <a:gd name="connsiteX469" fmla="*/ 2859841 w 3859699"/>
              <a:gd name="connsiteY469" fmla="*/ 1951014 h 3357396"/>
              <a:gd name="connsiteX470" fmla="*/ 2857164 w 3859699"/>
              <a:gd name="connsiteY470" fmla="*/ 1943498 h 3357396"/>
              <a:gd name="connsiteX471" fmla="*/ 2862312 w 3859699"/>
              <a:gd name="connsiteY471" fmla="*/ 1940513 h 3357396"/>
              <a:gd name="connsiteX472" fmla="*/ 2970210 w 3859699"/>
              <a:gd name="connsiteY472" fmla="*/ 1694344 h 3357396"/>
              <a:gd name="connsiteX473" fmla="*/ 3097257 w 3859699"/>
              <a:gd name="connsiteY473" fmla="*/ 1436233 h 3357396"/>
              <a:gd name="connsiteX474" fmla="*/ 3099419 w 3859699"/>
              <a:gd name="connsiteY474" fmla="*/ 1428100 h 3357396"/>
              <a:gd name="connsiteX475" fmla="*/ 3093242 w 3859699"/>
              <a:gd name="connsiteY475" fmla="*/ 1422437 h 3357396"/>
              <a:gd name="connsiteX476" fmla="*/ 3063694 w 3859699"/>
              <a:gd name="connsiteY476" fmla="*/ 1427174 h 3357396"/>
              <a:gd name="connsiteX477" fmla="*/ 3047633 w 3859699"/>
              <a:gd name="connsiteY477" fmla="*/ 1452501 h 3357396"/>
              <a:gd name="connsiteX478" fmla="*/ 3041558 w 3859699"/>
              <a:gd name="connsiteY478" fmla="*/ 1455384 h 3357396"/>
              <a:gd name="connsiteX479" fmla="*/ 3041558 w 3859699"/>
              <a:gd name="connsiteY479" fmla="*/ 1452191 h 3357396"/>
              <a:gd name="connsiteX480" fmla="*/ 3028895 w 3859699"/>
              <a:gd name="connsiteY480" fmla="*/ 1432527 h 3357396"/>
              <a:gd name="connsiteX481" fmla="*/ 3017615 w 3859699"/>
              <a:gd name="connsiteY481" fmla="*/ 1434775 h 3357396"/>
              <a:gd name="connsiteX482" fmla="*/ 3016746 w 3859699"/>
              <a:gd name="connsiteY482" fmla="*/ 1442102 h 3357396"/>
              <a:gd name="connsiteX483" fmla="*/ 3000170 w 3859699"/>
              <a:gd name="connsiteY483" fmla="*/ 1482461 h 3357396"/>
              <a:gd name="connsiteX484" fmla="*/ 2990390 w 3859699"/>
              <a:gd name="connsiteY484" fmla="*/ 1494404 h 3357396"/>
              <a:gd name="connsiteX485" fmla="*/ 3003259 w 3859699"/>
              <a:gd name="connsiteY485" fmla="*/ 1454045 h 3357396"/>
              <a:gd name="connsiteX486" fmla="*/ 3046912 w 3859699"/>
              <a:gd name="connsiteY486" fmla="*/ 1323188 h 3357396"/>
              <a:gd name="connsiteX487" fmla="*/ 3049795 w 3859699"/>
              <a:gd name="connsiteY487" fmla="*/ 1317010 h 3357396"/>
              <a:gd name="connsiteX488" fmla="*/ 3093654 w 3859699"/>
              <a:gd name="connsiteY488" fmla="*/ 1223114 h 3357396"/>
              <a:gd name="connsiteX489" fmla="*/ 3228732 w 3859699"/>
              <a:gd name="connsiteY489" fmla="*/ 917231 h 3357396"/>
              <a:gd name="connsiteX490" fmla="*/ 3228732 w 3859699"/>
              <a:gd name="connsiteY490" fmla="*/ 913628 h 3357396"/>
              <a:gd name="connsiteX491" fmla="*/ 3217511 w 3859699"/>
              <a:gd name="connsiteY491" fmla="*/ 899317 h 3357396"/>
              <a:gd name="connsiteX492" fmla="*/ 3127630 w 3859699"/>
              <a:gd name="connsiteY492" fmla="*/ 1053752 h 3357396"/>
              <a:gd name="connsiteX493" fmla="*/ 3045780 w 3859699"/>
              <a:gd name="connsiteY493" fmla="*/ 1218481 h 3357396"/>
              <a:gd name="connsiteX494" fmla="*/ 3044648 w 3859699"/>
              <a:gd name="connsiteY494" fmla="*/ 1221055 h 3357396"/>
              <a:gd name="connsiteX495" fmla="*/ 2962797 w 3859699"/>
              <a:gd name="connsiteY495" fmla="*/ 1362518 h 3357396"/>
              <a:gd name="connsiteX496" fmla="*/ 3138647 w 3859699"/>
              <a:gd name="connsiteY496" fmla="*/ 592920 h 3357396"/>
              <a:gd name="connsiteX497" fmla="*/ 3131851 w 3859699"/>
              <a:gd name="connsiteY497" fmla="*/ 584477 h 3357396"/>
              <a:gd name="connsiteX498" fmla="*/ 3122688 w 3859699"/>
              <a:gd name="connsiteY498" fmla="*/ 590139 h 3357396"/>
              <a:gd name="connsiteX499" fmla="*/ 3064312 w 3859699"/>
              <a:gd name="connsiteY499" fmla="*/ 888713 h 3357396"/>
              <a:gd name="connsiteX500" fmla="*/ 2900096 w 3859699"/>
              <a:gd name="connsiteY500" fmla="*/ 1408642 h 3357396"/>
              <a:gd name="connsiteX501" fmla="*/ 3000170 w 3859699"/>
              <a:gd name="connsiteY501" fmla="*/ 578814 h 3357396"/>
              <a:gd name="connsiteX502" fmla="*/ 3000170 w 3859699"/>
              <a:gd name="connsiteY502" fmla="*/ 576035 h 3357396"/>
              <a:gd name="connsiteX503" fmla="*/ 2987198 w 3859699"/>
              <a:gd name="connsiteY503" fmla="*/ 563062 h 3357396"/>
              <a:gd name="connsiteX504" fmla="*/ 2948794 w 3859699"/>
              <a:gd name="connsiteY504" fmla="*/ 812010 h 3357396"/>
              <a:gd name="connsiteX505" fmla="*/ 2877961 w 3859699"/>
              <a:gd name="connsiteY505" fmla="*/ 1278092 h 3357396"/>
              <a:gd name="connsiteX506" fmla="*/ 2831528 w 3859699"/>
              <a:gd name="connsiteY506" fmla="*/ 1118923 h 3357396"/>
              <a:gd name="connsiteX507" fmla="*/ 2827615 w 3859699"/>
              <a:gd name="connsiteY507" fmla="*/ 1113364 h 3357396"/>
              <a:gd name="connsiteX508" fmla="*/ 2821438 w 3859699"/>
              <a:gd name="connsiteY508" fmla="*/ 1042528 h 3357396"/>
              <a:gd name="connsiteX509" fmla="*/ 2789934 w 3859699"/>
              <a:gd name="connsiteY509" fmla="*/ 918981 h 3357396"/>
              <a:gd name="connsiteX510" fmla="*/ 2782726 w 3859699"/>
              <a:gd name="connsiteY510" fmla="*/ 918981 h 3357396"/>
              <a:gd name="connsiteX511" fmla="*/ 2767798 w 3859699"/>
              <a:gd name="connsiteY511" fmla="*/ 923511 h 3357396"/>
              <a:gd name="connsiteX512" fmla="*/ 2767798 w 3859699"/>
              <a:gd name="connsiteY512" fmla="*/ 879343 h 3357396"/>
              <a:gd name="connsiteX513" fmla="*/ 2768622 w 3859699"/>
              <a:gd name="connsiteY513" fmla="*/ 827248 h 3357396"/>
              <a:gd name="connsiteX514" fmla="*/ 2760179 w 3859699"/>
              <a:gd name="connsiteY514" fmla="*/ 821276 h 3357396"/>
              <a:gd name="connsiteX515" fmla="*/ 2732381 w 3859699"/>
              <a:gd name="connsiteY515" fmla="*/ 789256 h 3357396"/>
              <a:gd name="connsiteX516" fmla="*/ 2727439 w 3859699"/>
              <a:gd name="connsiteY516" fmla="*/ 782771 h 3357396"/>
              <a:gd name="connsiteX517" fmla="*/ 2719409 w 3859699"/>
              <a:gd name="connsiteY517" fmla="*/ 783800 h 3357396"/>
              <a:gd name="connsiteX518" fmla="*/ 2690170 w 3859699"/>
              <a:gd name="connsiteY518" fmla="*/ 968606 h 3357396"/>
              <a:gd name="connsiteX519" fmla="*/ 2694700 w 3859699"/>
              <a:gd name="connsiteY519" fmla="*/ 971592 h 3357396"/>
              <a:gd name="connsiteX520" fmla="*/ 2704995 w 3859699"/>
              <a:gd name="connsiteY520" fmla="*/ 972210 h 3357396"/>
              <a:gd name="connsiteX521" fmla="*/ 2677299 w 3859699"/>
              <a:gd name="connsiteY521" fmla="*/ 1084226 h 3357396"/>
              <a:gd name="connsiteX522" fmla="*/ 2658252 w 3859699"/>
              <a:gd name="connsiteY522" fmla="*/ 972107 h 3357396"/>
              <a:gd name="connsiteX523" fmla="*/ 2652899 w 3859699"/>
              <a:gd name="connsiteY523" fmla="*/ 882328 h 3357396"/>
              <a:gd name="connsiteX524" fmla="*/ 2657326 w 3859699"/>
              <a:gd name="connsiteY524" fmla="*/ 877181 h 3357396"/>
              <a:gd name="connsiteX525" fmla="*/ 2654855 w 3859699"/>
              <a:gd name="connsiteY525" fmla="*/ 843205 h 3357396"/>
              <a:gd name="connsiteX526" fmla="*/ 2651251 w 3859699"/>
              <a:gd name="connsiteY526" fmla="*/ 829513 h 3357396"/>
              <a:gd name="connsiteX527" fmla="*/ 2651252 w 3859699"/>
              <a:gd name="connsiteY527" fmla="*/ 824261 h 3357396"/>
              <a:gd name="connsiteX528" fmla="*/ 2643736 w 3859699"/>
              <a:gd name="connsiteY528" fmla="*/ 815922 h 3357396"/>
              <a:gd name="connsiteX529" fmla="*/ 2638588 w 3859699"/>
              <a:gd name="connsiteY529" fmla="*/ 815923 h 3357396"/>
              <a:gd name="connsiteX530" fmla="*/ 2609864 w 3859699"/>
              <a:gd name="connsiteY530" fmla="*/ 831983 h 3357396"/>
              <a:gd name="connsiteX531" fmla="*/ 2625616 w 3859699"/>
              <a:gd name="connsiteY531" fmla="*/ 876358 h 3357396"/>
              <a:gd name="connsiteX532" fmla="*/ 2625616 w 3859699"/>
              <a:gd name="connsiteY532" fmla="*/ 914863 h 3357396"/>
              <a:gd name="connsiteX533" fmla="*/ 2624586 w 3859699"/>
              <a:gd name="connsiteY533" fmla="*/ 966341 h 3357396"/>
              <a:gd name="connsiteX534" fmla="*/ 2611099 w 3859699"/>
              <a:gd name="connsiteY534" fmla="*/ 1028115 h 3357396"/>
              <a:gd name="connsiteX535" fmla="*/ 2581962 w 3859699"/>
              <a:gd name="connsiteY535" fmla="*/ 1072901 h 3357396"/>
              <a:gd name="connsiteX536" fmla="*/ 2576712 w 3859699"/>
              <a:gd name="connsiteY536" fmla="*/ 1076917 h 3357396"/>
              <a:gd name="connsiteX537" fmla="*/ 2554164 w 3859699"/>
              <a:gd name="connsiteY537" fmla="*/ 1204068 h 3357396"/>
              <a:gd name="connsiteX538" fmla="*/ 2534705 w 3859699"/>
              <a:gd name="connsiteY538" fmla="*/ 1315981 h 3357396"/>
              <a:gd name="connsiteX539" fmla="*/ 2370696 w 3859699"/>
              <a:gd name="connsiteY539" fmla="*/ 520747 h 3357396"/>
              <a:gd name="connsiteX540" fmla="*/ 2363900 w 3859699"/>
              <a:gd name="connsiteY540" fmla="*/ 513540 h 3357396"/>
              <a:gd name="connsiteX541" fmla="*/ 2350619 w 3859699"/>
              <a:gd name="connsiteY541" fmla="*/ 517864 h 3357396"/>
              <a:gd name="connsiteX542" fmla="*/ 2382330 w 3859699"/>
              <a:gd name="connsiteY542" fmla="*/ 849177 h 3357396"/>
              <a:gd name="connsiteX543" fmla="*/ 2423512 w 3859699"/>
              <a:gd name="connsiteY543" fmla="*/ 1145382 h 3357396"/>
              <a:gd name="connsiteX544" fmla="*/ 2375535 w 3859699"/>
              <a:gd name="connsiteY544" fmla="*/ 1069092 h 3357396"/>
              <a:gd name="connsiteX545" fmla="*/ 2355973 w 3859699"/>
              <a:gd name="connsiteY545" fmla="*/ 1025232 h 3357396"/>
              <a:gd name="connsiteX546" fmla="*/ 2319116 w 3859699"/>
              <a:gd name="connsiteY546" fmla="*/ 965106 h 3357396"/>
              <a:gd name="connsiteX547" fmla="*/ 2263210 w 3859699"/>
              <a:gd name="connsiteY547" fmla="*/ 733043 h 3357396"/>
              <a:gd name="connsiteX548" fmla="*/ 2241280 w 3859699"/>
              <a:gd name="connsiteY548" fmla="*/ 605789 h 3357396"/>
              <a:gd name="connsiteX549" fmla="*/ 2236235 w 3859699"/>
              <a:gd name="connsiteY549" fmla="*/ 599921 h 3357396"/>
              <a:gd name="connsiteX550" fmla="*/ 2228514 w 3859699"/>
              <a:gd name="connsiteY550" fmla="*/ 600950 h 3357396"/>
              <a:gd name="connsiteX551" fmla="*/ 2234485 w 3859699"/>
              <a:gd name="connsiteY551" fmla="*/ 767430 h 3357396"/>
              <a:gd name="connsiteX552" fmla="*/ 2247766 w 3859699"/>
              <a:gd name="connsiteY552" fmla="*/ 827351 h 3357396"/>
              <a:gd name="connsiteX553" fmla="*/ 2208335 w 3859699"/>
              <a:gd name="connsiteY553" fmla="*/ 734690 h 3357396"/>
              <a:gd name="connsiteX554" fmla="*/ 2124631 w 3859699"/>
              <a:gd name="connsiteY554" fmla="*/ 571710 h 3357396"/>
              <a:gd name="connsiteX555" fmla="*/ 2114335 w 3859699"/>
              <a:gd name="connsiteY555" fmla="*/ 570577 h 3357396"/>
              <a:gd name="connsiteX556" fmla="*/ 2110938 w 3859699"/>
              <a:gd name="connsiteY556" fmla="*/ 580049 h 3357396"/>
              <a:gd name="connsiteX557" fmla="*/ 2437412 w 3859699"/>
              <a:gd name="connsiteY557" fmla="*/ 1329365 h 3357396"/>
              <a:gd name="connsiteX558" fmla="*/ 2543046 w 3859699"/>
              <a:gd name="connsiteY558" fmla="*/ 1546911 h 3357396"/>
              <a:gd name="connsiteX559" fmla="*/ 2371417 w 3859699"/>
              <a:gd name="connsiteY559" fmla="*/ 1295698 h 3357396"/>
              <a:gd name="connsiteX560" fmla="*/ 2280198 w 3859699"/>
              <a:gd name="connsiteY560" fmla="*/ 1172151 h 3357396"/>
              <a:gd name="connsiteX561" fmla="*/ 2269903 w 3859699"/>
              <a:gd name="connsiteY561" fmla="*/ 1190683 h 3357396"/>
              <a:gd name="connsiteX562" fmla="*/ 2270520 w 3859699"/>
              <a:gd name="connsiteY562" fmla="*/ 1194080 h 3357396"/>
              <a:gd name="connsiteX563" fmla="*/ 2354223 w 3859699"/>
              <a:gd name="connsiteY563" fmla="*/ 1355515 h 3357396"/>
              <a:gd name="connsiteX564" fmla="*/ 2396641 w 3859699"/>
              <a:gd name="connsiteY564" fmla="*/ 1431498 h 3357396"/>
              <a:gd name="connsiteX565" fmla="*/ 2224498 w 3859699"/>
              <a:gd name="connsiteY565" fmla="*/ 1229806 h 3357396"/>
              <a:gd name="connsiteX566" fmla="*/ 2148723 w 3859699"/>
              <a:gd name="connsiteY566" fmla="*/ 1122527 h 3357396"/>
              <a:gd name="connsiteX567" fmla="*/ 2142031 w 3859699"/>
              <a:gd name="connsiteY567" fmla="*/ 1119541 h 3357396"/>
              <a:gd name="connsiteX568" fmla="*/ 2135751 w 3859699"/>
              <a:gd name="connsiteY568" fmla="*/ 1123041 h 3357396"/>
              <a:gd name="connsiteX569" fmla="*/ 2214512 w 3859699"/>
              <a:gd name="connsiteY569" fmla="*/ 1294153 h 3357396"/>
              <a:gd name="connsiteX570" fmla="*/ 2093436 w 3859699"/>
              <a:gd name="connsiteY570" fmla="*/ 1162164 h 3357396"/>
              <a:gd name="connsiteX571" fmla="*/ 1972256 w 3859699"/>
              <a:gd name="connsiteY571" fmla="*/ 987139 h 3357396"/>
              <a:gd name="connsiteX572" fmla="*/ 1965359 w 3859699"/>
              <a:gd name="connsiteY572" fmla="*/ 980859 h 3357396"/>
              <a:gd name="connsiteX573" fmla="*/ 1957122 w 3859699"/>
              <a:gd name="connsiteY573" fmla="*/ 985080 h 3357396"/>
              <a:gd name="connsiteX574" fmla="*/ 2129985 w 3859699"/>
              <a:gd name="connsiteY574" fmla="*/ 1257707 h 3357396"/>
              <a:gd name="connsiteX575" fmla="*/ 2261254 w 3859699"/>
              <a:gd name="connsiteY575" fmla="*/ 1428100 h 3357396"/>
              <a:gd name="connsiteX576" fmla="*/ 2254974 w 3859699"/>
              <a:gd name="connsiteY576" fmla="*/ 1435616 h 3357396"/>
              <a:gd name="connsiteX577" fmla="*/ 2023528 w 3859699"/>
              <a:gd name="connsiteY577" fmla="*/ 1246588 h 3357396"/>
              <a:gd name="connsiteX578" fmla="*/ 1858799 w 3859699"/>
              <a:gd name="connsiteY578" fmla="*/ 1105126 h 3357396"/>
              <a:gd name="connsiteX579" fmla="*/ 1848502 w 3859699"/>
              <a:gd name="connsiteY579" fmla="*/ 1105744 h 3357396"/>
              <a:gd name="connsiteX580" fmla="*/ 1846444 w 3859699"/>
              <a:gd name="connsiteY580" fmla="*/ 1115421 h 3357396"/>
              <a:gd name="connsiteX581" fmla="*/ 2055239 w 3859699"/>
              <a:gd name="connsiteY581" fmla="*/ 1314334 h 3357396"/>
              <a:gd name="connsiteX582" fmla="*/ 2219350 w 3859699"/>
              <a:gd name="connsiteY582" fmla="*/ 1461046 h 3357396"/>
              <a:gd name="connsiteX583" fmla="*/ 2204216 w 3859699"/>
              <a:gd name="connsiteY583" fmla="*/ 1607861 h 3357396"/>
              <a:gd name="connsiteX584" fmla="*/ 2196700 w 3859699"/>
              <a:gd name="connsiteY584" fmla="*/ 1646161 h 3357396"/>
              <a:gd name="connsiteX585" fmla="*/ 2195671 w 3859699"/>
              <a:gd name="connsiteY585" fmla="*/ 1694653 h 3357396"/>
              <a:gd name="connsiteX586" fmla="*/ 2193405 w 3859699"/>
              <a:gd name="connsiteY586" fmla="*/ 1778769 h 3357396"/>
              <a:gd name="connsiteX587" fmla="*/ 1978330 w 3859699"/>
              <a:gd name="connsiteY587" fmla="*/ 1739440 h 3357396"/>
              <a:gd name="connsiteX588" fmla="*/ 1942398 w 3859699"/>
              <a:gd name="connsiteY588" fmla="*/ 1613112 h 3357396"/>
              <a:gd name="connsiteX589" fmla="*/ 1938281 w 3859699"/>
              <a:gd name="connsiteY589" fmla="*/ 1606008 h 3357396"/>
              <a:gd name="connsiteX590" fmla="*/ 1930147 w 3859699"/>
              <a:gd name="connsiteY590" fmla="*/ 1606008 h 3357396"/>
              <a:gd name="connsiteX591" fmla="*/ 1906982 w 3859699"/>
              <a:gd name="connsiteY591" fmla="*/ 1678078 h 3357396"/>
              <a:gd name="connsiteX592" fmla="*/ 1801864 w 3859699"/>
              <a:gd name="connsiteY592" fmla="*/ 1623820 h 3357396"/>
              <a:gd name="connsiteX593" fmla="*/ 1792289 w 3859699"/>
              <a:gd name="connsiteY593" fmla="*/ 1629071 h 3357396"/>
              <a:gd name="connsiteX594" fmla="*/ 1915836 w 3859699"/>
              <a:gd name="connsiteY594" fmla="*/ 1702375 h 3357396"/>
              <a:gd name="connsiteX595" fmla="*/ 1915836 w 3859699"/>
              <a:gd name="connsiteY595" fmla="*/ 1707935 h 3357396"/>
              <a:gd name="connsiteX596" fmla="*/ 1841296 w 3859699"/>
              <a:gd name="connsiteY596" fmla="*/ 1679519 h 3357396"/>
              <a:gd name="connsiteX597" fmla="*/ 1878669 w 3859699"/>
              <a:gd name="connsiteY597" fmla="*/ 1712259 h 3357396"/>
              <a:gd name="connsiteX598" fmla="*/ 1832647 w 3859699"/>
              <a:gd name="connsiteY598" fmla="*/ 1696403 h 3357396"/>
              <a:gd name="connsiteX599" fmla="*/ 1796716 w 3859699"/>
              <a:gd name="connsiteY599" fmla="*/ 1697845 h 3357396"/>
              <a:gd name="connsiteX600" fmla="*/ 1739267 w 3859699"/>
              <a:gd name="connsiteY600" fmla="*/ 1690741 h 3357396"/>
              <a:gd name="connsiteX601" fmla="*/ 1681919 w 3859699"/>
              <a:gd name="connsiteY601" fmla="*/ 1690740 h 3357396"/>
              <a:gd name="connsiteX602" fmla="*/ 1666786 w 3859699"/>
              <a:gd name="connsiteY602" fmla="*/ 1654604 h 3357396"/>
              <a:gd name="connsiteX603" fmla="*/ 1665858 w 3859699"/>
              <a:gd name="connsiteY603" fmla="*/ 1653368 h 3357396"/>
              <a:gd name="connsiteX604" fmla="*/ 1677698 w 3859699"/>
              <a:gd name="connsiteY604" fmla="*/ 1617952 h 3357396"/>
              <a:gd name="connsiteX605" fmla="*/ 1633942 w 3859699"/>
              <a:gd name="connsiteY605" fmla="*/ 1576769 h 3357396"/>
              <a:gd name="connsiteX606" fmla="*/ 1630029 w 3859699"/>
              <a:gd name="connsiteY606" fmla="*/ 1573165 h 3357396"/>
              <a:gd name="connsiteX607" fmla="*/ 1655151 w 3859699"/>
              <a:gd name="connsiteY607" fmla="*/ 1583461 h 3357396"/>
              <a:gd name="connsiteX608" fmla="*/ 1686037 w 3859699"/>
              <a:gd name="connsiteY608" fmla="*/ 1627526 h 3357396"/>
              <a:gd name="connsiteX609" fmla="*/ 1690053 w 3859699"/>
              <a:gd name="connsiteY609" fmla="*/ 1633601 h 3357396"/>
              <a:gd name="connsiteX610" fmla="*/ 1697363 w 3859699"/>
              <a:gd name="connsiteY610" fmla="*/ 1633601 h 3357396"/>
              <a:gd name="connsiteX611" fmla="*/ 1720631 w 3859699"/>
              <a:gd name="connsiteY611" fmla="*/ 1636174 h 3357396"/>
              <a:gd name="connsiteX612" fmla="*/ 1751518 w 3859699"/>
              <a:gd name="connsiteY612" fmla="*/ 1673856 h 3357396"/>
              <a:gd name="connsiteX613" fmla="*/ 1760372 w 3859699"/>
              <a:gd name="connsiteY613" fmla="*/ 1680239 h 3357396"/>
              <a:gd name="connsiteX614" fmla="*/ 1767579 w 3859699"/>
              <a:gd name="connsiteY614" fmla="*/ 1672209 h 3357396"/>
              <a:gd name="connsiteX615" fmla="*/ 1828528 w 3859699"/>
              <a:gd name="connsiteY615" fmla="*/ 254193 h 3357396"/>
              <a:gd name="connsiteX616" fmla="*/ 1828529 w 3859699"/>
              <a:gd name="connsiteY616" fmla="*/ 250178 h 3357396"/>
              <a:gd name="connsiteX617" fmla="*/ 1818234 w 3859699"/>
              <a:gd name="connsiteY617" fmla="*/ 243383 h 3357396"/>
              <a:gd name="connsiteX618" fmla="*/ 1720116 w 3859699"/>
              <a:gd name="connsiteY618" fmla="*/ 823644 h 3357396"/>
              <a:gd name="connsiteX619" fmla="*/ 1666682 w 3859699"/>
              <a:gd name="connsiteY619" fmla="*/ 1199434 h 3357396"/>
              <a:gd name="connsiteX620" fmla="*/ 1692318 w 3859699"/>
              <a:gd name="connsiteY620" fmla="*/ 659532 h 3357396"/>
              <a:gd name="connsiteX621" fmla="*/ 1705085 w 3859699"/>
              <a:gd name="connsiteY621" fmla="*/ 36647 h 3357396"/>
              <a:gd name="connsiteX622" fmla="*/ 1695307 w 3859699"/>
              <a:gd name="connsiteY622" fmla="*/ 30589 h 3357396"/>
              <a:gd name="connsiteX623" fmla="*/ 1689127 w 3859699"/>
              <a:gd name="connsiteY623" fmla="*/ 39735 h 3357396"/>
              <a:gd name="connsiteX624" fmla="*/ 1657519 w 3859699"/>
              <a:gd name="connsiteY624" fmla="*/ 463915 h 3357396"/>
              <a:gd name="connsiteX625" fmla="*/ 1626632 w 3859699"/>
              <a:gd name="connsiteY625" fmla="*/ 811496 h 3357396"/>
              <a:gd name="connsiteX626" fmla="*/ 1632192 w 3859699"/>
              <a:gd name="connsiteY626" fmla="*/ 819114 h 3357396"/>
              <a:gd name="connsiteX627" fmla="*/ 1635486 w 3859699"/>
              <a:gd name="connsiteY627" fmla="*/ 819114 h 3357396"/>
              <a:gd name="connsiteX628" fmla="*/ 1630133 w 3859699"/>
              <a:gd name="connsiteY628" fmla="*/ 844957 h 3357396"/>
              <a:gd name="connsiteX629" fmla="*/ 1622823 w 3859699"/>
              <a:gd name="connsiteY629" fmla="*/ 469475 h 3357396"/>
              <a:gd name="connsiteX630" fmla="*/ 1607071 w 3859699"/>
              <a:gd name="connsiteY630" fmla="*/ 55179 h 3357396"/>
              <a:gd name="connsiteX631" fmla="*/ 1598525 w 3859699"/>
              <a:gd name="connsiteY631" fmla="*/ 49311 h 3357396"/>
              <a:gd name="connsiteX632" fmla="*/ 1591113 w 3859699"/>
              <a:gd name="connsiteY632" fmla="*/ 56620 h 3357396"/>
              <a:gd name="connsiteX633" fmla="*/ 1581331 w 3859699"/>
              <a:gd name="connsiteY633" fmla="*/ 331102 h 3357396"/>
              <a:gd name="connsiteX634" fmla="*/ 1578552 w 3859699"/>
              <a:gd name="connsiteY634" fmla="*/ 503142 h 3357396"/>
              <a:gd name="connsiteX635" fmla="*/ 1574433 w 3859699"/>
              <a:gd name="connsiteY635" fmla="*/ 255120 h 3357396"/>
              <a:gd name="connsiteX636" fmla="*/ 1569388 w 3859699"/>
              <a:gd name="connsiteY636" fmla="*/ 7305 h 3357396"/>
              <a:gd name="connsiteX637" fmla="*/ 1560468 w 3859699"/>
              <a:gd name="connsiteY637" fmla="*/ 42 h 3357396"/>
              <a:gd name="connsiteX638" fmla="*/ 1553430 w 3859699"/>
              <a:gd name="connsiteY638" fmla="*/ 6070 h 3357396"/>
              <a:gd name="connsiteX639" fmla="*/ 1510806 w 3859699"/>
              <a:gd name="connsiteY639" fmla="*/ 604554 h 3357396"/>
              <a:gd name="connsiteX640" fmla="*/ 1467977 w 3859699"/>
              <a:gd name="connsiteY640" fmla="*/ 275094 h 3357396"/>
              <a:gd name="connsiteX641" fmla="*/ 1459431 w 3859699"/>
              <a:gd name="connsiteY641" fmla="*/ 268607 h 3357396"/>
              <a:gd name="connsiteX642" fmla="*/ 1451916 w 3859699"/>
              <a:gd name="connsiteY642" fmla="*/ 276329 h 3357396"/>
              <a:gd name="connsiteX643" fmla="*/ 1471272 w 3859699"/>
              <a:gd name="connsiteY643" fmla="*/ 814379 h 3357396"/>
              <a:gd name="connsiteX644" fmla="*/ 1483420 w 3859699"/>
              <a:gd name="connsiteY644" fmla="*/ 898699 h 3357396"/>
              <a:gd name="connsiteX645" fmla="*/ 1474875 w 3859699"/>
              <a:gd name="connsiteY645" fmla="*/ 896949 h 3357396"/>
              <a:gd name="connsiteX646" fmla="*/ 1469624 w 3859699"/>
              <a:gd name="connsiteY646" fmla="*/ 904876 h 3357396"/>
              <a:gd name="connsiteX647" fmla="*/ 1475801 w 3859699"/>
              <a:gd name="connsiteY647" fmla="*/ 1056016 h 3357396"/>
              <a:gd name="connsiteX648" fmla="*/ 1534486 w 3859699"/>
              <a:gd name="connsiteY648" fmla="*/ 1466709 h 3357396"/>
              <a:gd name="connsiteX649" fmla="*/ 1375110 w 3859699"/>
              <a:gd name="connsiteY649" fmla="*/ 1231556 h 3357396"/>
              <a:gd name="connsiteX650" fmla="*/ 1069124 w 3859699"/>
              <a:gd name="connsiteY650" fmla="*/ 524762 h 3357396"/>
              <a:gd name="connsiteX651" fmla="*/ 1057902 w 3859699"/>
              <a:gd name="connsiteY651" fmla="*/ 529499 h 3357396"/>
              <a:gd name="connsiteX652" fmla="*/ 1263815 w 3859699"/>
              <a:gd name="connsiteY652" fmla="*/ 1103376 h 3357396"/>
              <a:gd name="connsiteX653" fmla="*/ 925398 w 3859699"/>
              <a:gd name="connsiteY653" fmla="*/ 342015 h 3357396"/>
              <a:gd name="connsiteX654" fmla="*/ 916853 w 3859699"/>
              <a:gd name="connsiteY654" fmla="*/ 335735 h 3357396"/>
              <a:gd name="connsiteX655" fmla="*/ 895541 w 3859699"/>
              <a:gd name="connsiteY655" fmla="*/ 350251 h 3357396"/>
              <a:gd name="connsiteX656" fmla="*/ 1062329 w 3859699"/>
              <a:gd name="connsiteY656" fmla="*/ 825498 h 3357396"/>
              <a:gd name="connsiteX657" fmla="*/ 1373669 w 3859699"/>
              <a:gd name="connsiteY657" fmla="*/ 1396183 h 3357396"/>
              <a:gd name="connsiteX658" fmla="*/ 511925 w 3859699"/>
              <a:gd name="connsiteY658" fmla="*/ 327807 h 3357396"/>
              <a:gd name="connsiteX659" fmla="*/ 500738 w 3859699"/>
              <a:gd name="connsiteY659" fmla="*/ 325133 h 3357396"/>
              <a:gd name="connsiteX660" fmla="*/ 497204 w 3859699"/>
              <a:gd name="connsiteY660" fmla="*/ 334396 h 3357396"/>
              <a:gd name="connsiteX661" fmla="*/ 1125236 w 3859699"/>
              <a:gd name="connsiteY661" fmla="*/ 1205406 h 3357396"/>
              <a:gd name="connsiteX662" fmla="*/ 1265462 w 3859699"/>
              <a:gd name="connsiteY662" fmla="*/ 1352118 h 3357396"/>
              <a:gd name="connsiteX663" fmla="*/ 296026 w 3859699"/>
              <a:gd name="connsiteY663" fmla="*/ 244207 h 3357396"/>
              <a:gd name="connsiteX664" fmla="*/ 243622 w 3859699"/>
              <a:gd name="connsiteY664" fmla="*/ 168740 h 3357396"/>
              <a:gd name="connsiteX665" fmla="*/ 233327 w 3859699"/>
              <a:gd name="connsiteY665" fmla="*/ 166165 h 3357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Lst>
            <a:rect l="l" t="t" r="r" b="b"/>
            <a:pathLst>
              <a:path w="3859699" h="3357396">
                <a:moveTo>
                  <a:pt x="2669063" y="2093712"/>
                </a:moveTo>
                <a:cubicBezTo>
                  <a:pt x="2686571" y="2096503"/>
                  <a:pt x="2703658" y="2101484"/>
                  <a:pt x="2719923" y="2108537"/>
                </a:cubicBezTo>
                <a:cubicBezTo>
                  <a:pt x="2707362" y="2117763"/>
                  <a:pt x="2694302" y="2126287"/>
                  <a:pt x="2680800" y="2134071"/>
                </a:cubicBezTo>
                <a:lnTo>
                  <a:pt x="2681005" y="2134071"/>
                </a:lnTo>
                <a:cubicBezTo>
                  <a:pt x="2679618" y="2134895"/>
                  <a:pt x="2678507" y="2136114"/>
                  <a:pt x="2677815" y="2137571"/>
                </a:cubicBezTo>
                <a:cubicBezTo>
                  <a:pt x="2565901" y="2370561"/>
                  <a:pt x="2508451" y="2432026"/>
                  <a:pt x="2466445" y="2477326"/>
                </a:cubicBezTo>
                <a:cubicBezTo>
                  <a:pt x="2457385" y="2487004"/>
                  <a:pt x="2448840" y="2496167"/>
                  <a:pt x="2440500" y="2506155"/>
                </a:cubicBezTo>
                <a:cubicBezTo>
                  <a:pt x="2434941" y="2511095"/>
                  <a:pt x="2422998" y="2523657"/>
                  <a:pt x="2392831" y="2555470"/>
                </a:cubicBezTo>
                <a:lnTo>
                  <a:pt x="2363284" y="2586356"/>
                </a:lnTo>
                <a:cubicBezTo>
                  <a:pt x="2385934" y="2547234"/>
                  <a:pt x="2423203" y="2480724"/>
                  <a:pt x="2459753" y="2414318"/>
                </a:cubicBezTo>
                <a:cubicBezTo>
                  <a:pt x="2515040" y="2313832"/>
                  <a:pt x="2533058" y="2280475"/>
                  <a:pt x="2536867" y="2267296"/>
                </a:cubicBezTo>
                <a:cubicBezTo>
                  <a:pt x="2563122" y="2216745"/>
                  <a:pt x="2633029" y="2125217"/>
                  <a:pt x="2669063" y="2093712"/>
                </a:cubicBezTo>
                <a:close/>
                <a:moveTo>
                  <a:pt x="2772328" y="1912818"/>
                </a:moveTo>
                <a:lnTo>
                  <a:pt x="2772530" y="1912892"/>
                </a:lnTo>
                <a:lnTo>
                  <a:pt x="2772534" y="1912818"/>
                </a:lnTo>
                <a:close/>
                <a:moveTo>
                  <a:pt x="2245215" y="1880963"/>
                </a:moveTo>
                <a:cubicBezTo>
                  <a:pt x="2253069" y="1877903"/>
                  <a:pt x="2263158" y="1875342"/>
                  <a:pt x="2276388" y="1873797"/>
                </a:cubicBezTo>
                <a:cubicBezTo>
                  <a:pt x="2345781" y="1875650"/>
                  <a:pt x="2363181" y="1909729"/>
                  <a:pt x="2393347" y="1926202"/>
                </a:cubicBezTo>
                <a:cubicBezTo>
                  <a:pt x="2421951" y="1940258"/>
                  <a:pt x="2452122" y="1950868"/>
                  <a:pt x="2483227" y="1957809"/>
                </a:cubicBezTo>
                <a:cubicBezTo>
                  <a:pt x="2542632" y="1974488"/>
                  <a:pt x="2562504" y="1990446"/>
                  <a:pt x="2601318" y="2019583"/>
                </a:cubicBezTo>
                <a:cubicBezTo>
                  <a:pt x="2593803" y="2022261"/>
                  <a:pt x="2532029" y="2031629"/>
                  <a:pt x="2524410" y="2034203"/>
                </a:cubicBezTo>
                <a:lnTo>
                  <a:pt x="2524410" y="2034099"/>
                </a:lnTo>
                <a:lnTo>
                  <a:pt x="2520086" y="2035644"/>
                </a:lnTo>
                <a:cubicBezTo>
                  <a:pt x="2410643" y="2073018"/>
                  <a:pt x="2259504" y="2115538"/>
                  <a:pt x="2152738" y="2108846"/>
                </a:cubicBezTo>
                <a:cubicBezTo>
                  <a:pt x="2153458" y="2103493"/>
                  <a:pt x="2154488" y="2097109"/>
                  <a:pt x="2155724" y="2089696"/>
                </a:cubicBezTo>
                <a:cubicBezTo>
                  <a:pt x="2156145" y="2088251"/>
                  <a:pt x="2156420" y="2086769"/>
                  <a:pt x="2156548" y="2085270"/>
                </a:cubicBezTo>
                <a:cubicBezTo>
                  <a:pt x="2167565" y="2025246"/>
                  <a:pt x="2194436" y="1916318"/>
                  <a:pt x="2210496" y="1907979"/>
                </a:cubicBezTo>
                <a:cubicBezTo>
                  <a:pt x="2218219" y="1903808"/>
                  <a:pt x="2221654" y="1890141"/>
                  <a:pt x="2245215" y="1880963"/>
                </a:cubicBezTo>
                <a:close/>
                <a:moveTo>
                  <a:pt x="2934484" y="1597669"/>
                </a:moveTo>
                <a:lnTo>
                  <a:pt x="2934690" y="1597669"/>
                </a:lnTo>
                <a:cubicBezTo>
                  <a:pt x="2932940" y="1624643"/>
                  <a:pt x="2916364" y="1685593"/>
                  <a:pt x="2894640" y="1741808"/>
                </a:cubicBezTo>
                <a:cubicBezTo>
                  <a:pt x="2885786" y="1754573"/>
                  <a:pt x="2858606" y="1827570"/>
                  <a:pt x="2847487" y="1880284"/>
                </a:cubicBezTo>
                <a:cubicBezTo>
                  <a:pt x="2845530" y="1768988"/>
                  <a:pt x="2910186" y="1641631"/>
                  <a:pt x="2934484" y="1597669"/>
                </a:cubicBezTo>
                <a:close/>
                <a:moveTo>
                  <a:pt x="1963298" y="1789167"/>
                </a:moveTo>
                <a:cubicBezTo>
                  <a:pt x="2042987" y="1806360"/>
                  <a:pt x="2104658" y="1817789"/>
                  <a:pt x="2158914" y="1835395"/>
                </a:cubicBezTo>
                <a:cubicBezTo>
                  <a:pt x="2178786" y="1832924"/>
                  <a:pt x="2187949" y="1849191"/>
                  <a:pt x="2170961" y="1901596"/>
                </a:cubicBezTo>
                <a:lnTo>
                  <a:pt x="2147487" y="2055515"/>
                </a:lnTo>
                <a:cubicBezTo>
                  <a:pt x="2152429" y="2112449"/>
                  <a:pt x="2142339" y="2079195"/>
                  <a:pt x="2136059" y="2082592"/>
                </a:cubicBezTo>
                <a:lnTo>
                  <a:pt x="2136059" y="2082489"/>
                </a:lnTo>
                <a:cubicBezTo>
                  <a:pt x="2128337" y="2086711"/>
                  <a:pt x="2109909" y="2109979"/>
                  <a:pt x="2101466" y="2103081"/>
                </a:cubicBezTo>
                <a:cubicBezTo>
                  <a:pt x="2065225" y="2007023"/>
                  <a:pt x="1978536" y="1857119"/>
                  <a:pt x="1963298" y="1789167"/>
                </a:cubicBezTo>
                <a:close/>
                <a:moveTo>
                  <a:pt x="2803936" y="1468253"/>
                </a:moveTo>
                <a:cubicBezTo>
                  <a:pt x="2803832" y="1469385"/>
                  <a:pt x="2803832" y="1470724"/>
                  <a:pt x="2803833" y="1471753"/>
                </a:cubicBezTo>
                <a:lnTo>
                  <a:pt x="2805377" y="1469694"/>
                </a:lnTo>
                <a:close/>
                <a:moveTo>
                  <a:pt x="2801053" y="1431703"/>
                </a:moveTo>
                <a:cubicBezTo>
                  <a:pt x="2802906" y="1459707"/>
                  <a:pt x="2811349" y="1467224"/>
                  <a:pt x="2818041" y="1465370"/>
                </a:cubicBezTo>
                <a:cubicBezTo>
                  <a:pt x="2801156" y="1493477"/>
                  <a:pt x="2788184" y="1495330"/>
                  <a:pt x="2801053" y="1431703"/>
                </a:cubicBezTo>
                <a:close/>
                <a:moveTo>
                  <a:pt x="3002126" y="1352736"/>
                </a:moveTo>
                <a:cubicBezTo>
                  <a:pt x="3005421" y="1512420"/>
                  <a:pt x="2780564" y="1684255"/>
                  <a:pt x="2821644" y="1933718"/>
                </a:cubicBezTo>
                <a:cubicBezTo>
                  <a:pt x="2821373" y="2112990"/>
                  <a:pt x="2790678" y="1942276"/>
                  <a:pt x="2777006" y="1914522"/>
                </a:cubicBezTo>
                <a:lnTo>
                  <a:pt x="2772530" y="1912892"/>
                </a:lnTo>
                <a:lnTo>
                  <a:pt x="2771823" y="1925735"/>
                </a:lnTo>
                <a:cubicBezTo>
                  <a:pt x="2775291" y="1961371"/>
                  <a:pt x="2807295" y="2025039"/>
                  <a:pt x="2713335" y="1897477"/>
                </a:cubicBezTo>
                <a:cubicBezTo>
                  <a:pt x="2637662" y="1826540"/>
                  <a:pt x="2394170" y="1614657"/>
                  <a:pt x="2393347" y="1575224"/>
                </a:cubicBezTo>
                <a:cubicBezTo>
                  <a:pt x="2393346" y="1558340"/>
                  <a:pt x="2468093" y="1609611"/>
                  <a:pt x="2550149" y="1660060"/>
                </a:cubicBezTo>
                <a:lnTo>
                  <a:pt x="2548295" y="1657487"/>
                </a:lnTo>
                <a:cubicBezTo>
                  <a:pt x="2645486" y="1715759"/>
                  <a:pt x="2809702" y="2061692"/>
                  <a:pt x="2734337" y="1748705"/>
                </a:cubicBezTo>
                <a:cubicBezTo>
                  <a:pt x="2783654" y="1709068"/>
                  <a:pt x="2695626" y="1744484"/>
                  <a:pt x="2700568" y="1686932"/>
                </a:cubicBezTo>
                <a:cubicBezTo>
                  <a:pt x="2673181" y="1677769"/>
                  <a:pt x="2633028" y="1691874"/>
                  <a:pt x="2555194" y="1586755"/>
                </a:cubicBezTo>
                <a:cubicBezTo>
                  <a:pt x="2581035" y="1590462"/>
                  <a:pt x="2704892" y="1734703"/>
                  <a:pt x="2683476" y="1653676"/>
                </a:cubicBezTo>
                <a:cubicBezTo>
                  <a:pt x="2698920" y="1674268"/>
                  <a:pt x="2708290" y="1706391"/>
                  <a:pt x="2746075" y="1691359"/>
                </a:cubicBezTo>
                <a:cubicBezTo>
                  <a:pt x="2705510" y="1629585"/>
                  <a:pt x="2681521" y="1608273"/>
                  <a:pt x="2681315" y="1518804"/>
                </a:cubicBezTo>
                <a:cubicBezTo>
                  <a:pt x="2690478" y="1502434"/>
                  <a:pt x="2706230" y="1476077"/>
                  <a:pt x="2706230" y="1476077"/>
                </a:cubicBezTo>
                <a:cubicBezTo>
                  <a:pt x="2706662" y="1476475"/>
                  <a:pt x="2707042" y="1476924"/>
                  <a:pt x="2707362" y="1477416"/>
                </a:cubicBezTo>
                <a:cubicBezTo>
                  <a:pt x="2780667" y="1377857"/>
                  <a:pt x="2777477" y="1552162"/>
                  <a:pt x="2786640" y="1636895"/>
                </a:cubicBezTo>
                <a:cubicBezTo>
                  <a:pt x="2810216" y="1586550"/>
                  <a:pt x="2909363" y="1485138"/>
                  <a:pt x="2807230" y="1544235"/>
                </a:cubicBezTo>
                <a:cubicBezTo>
                  <a:pt x="2896082" y="1455074"/>
                  <a:pt x="2854900" y="1578828"/>
                  <a:pt x="2794875" y="1632263"/>
                </a:cubicBezTo>
                <a:cubicBezTo>
                  <a:pt x="2772122" y="1659443"/>
                  <a:pt x="2763989" y="1668708"/>
                  <a:pt x="2756164" y="1691771"/>
                </a:cubicBezTo>
                <a:cubicBezTo>
                  <a:pt x="2771252" y="1683318"/>
                  <a:pt x="2785461" y="1673385"/>
                  <a:pt x="2798582" y="1662119"/>
                </a:cubicBezTo>
                <a:cubicBezTo>
                  <a:pt x="2803936" y="1709891"/>
                  <a:pt x="2849339" y="1638543"/>
                  <a:pt x="2865298" y="1627733"/>
                </a:cubicBezTo>
                <a:cubicBezTo>
                  <a:pt x="2846148" y="1570797"/>
                  <a:pt x="2968253" y="1394434"/>
                  <a:pt x="3002126" y="1352736"/>
                </a:cubicBezTo>
                <a:close/>
                <a:moveTo>
                  <a:pt x="1695510" y="1723996"/>
                </a:moveTo>
                <a:cubicBezTo>
                  <a:pt x="1609129" y="1823349"/>
                  <a:pt x="1164256" y="2129232"/>
                  <a:pt x="1075096" y="2194506"/>
                </a:cubicBezTo>
                <a:cubicBezTo>
                  <a:pt x="982436" y="2262251"/>
                  <a:pt x="886892" y="2332262"/>
                  <a:pt x="797115" y="2390123"/>
                </a:cubicBezTo>
                <a:lnTo>
                  <a:pt x="802673" y="2399697"/>
                </a:lnTo>
                <a:cubicBezTo>
                  <a:pt x="982023" y="2307860"/>
                  <a:pt x="1633531" y="1853103"/>
                  <a:pt x="1710232" y="1728629"/>
                </a:cubicBezTo>
                <a:cubicBezTo>
                  <a:pt x="1705084" y="1728629"/>
                  <a:pt x="1700761" y="1724201"/>
                  <a:pt x="1695510" y="1723996"/>
                </a:cubicBezTo>
                <a:close/>
                <a:moveTo>
                  <a:pt x="2541294" y="1460737"/>
                </a:moveTo>
                <a:cubicBezTo>
                  <a:pt x="2585462" y="1462384"/>
                  <a:pt x="2636940" y="1511598"/>
                  <a:pt x="2655267" y="1557516"/>
                </a:cubicBezTo>
                <a:cubicBezTo>
                  <a:pt x="2659591" y="1568326"/>
                  <a:pt x="2664739" y="1586344"/>
                  <a:pt x="2658047" y="1599213"/>
                </a:cubicBezTo>
                <a:cubicBezTo>
                  <a:pt x="2652946" y="1590876"/>
                  <a:pt x="2646631" y="1583346"/>
                  <a:pt x="2639309" y="1576872"/>
                </a:cubicBezTo>
                <a:cubicBezTo>
                  <a:pt x="2638382" y="1576254"/>
                  <a:pt x="2622528" y="1574194"/>
                  <a:pt x="2622528" y="1574194"/>
                </a:cubicBezTo>
                <a:cubicBezTo>
                  <a:pt x="2616906" y="1562654"/>
                  <a:pt x="2607645" y="1553284"/>
                  <a:pt x="2596171" y="1547529"/>
                </a:cubicBezTo>
                <a:lnTo>
                  <a:pt x="2582992" y="1539498"/>
                </a:lnTo>
                <a:lnTo>
                  <a:pt x="2588140" y="1554016"/>
                </a:lnTo>
                <a:cubicBezTo>
                  <a:pt x="2592463" y="1566370"/>
                  <a:pt x="2624483" y="1583152"/>
                  <a:pt x="2624483" y="1583152"/>
                </a:cubicBezTo>
                <a:cubicBezTo>
                  <a:pt x="2619156" y="1586628"/>
                  <a:pt x="2612468" y="1587282"/>
                  <a:pt x="2606569" y="1584903"/>
                </a:cubicBezTo>
                <a:cubicBezTo>
                  <a:pt x="2576197" y="1573680"/>
                  <a:pt x="2546339" y="1499551"/>
                  <a:pt x="2541294" y="1460840"/>
                </a:cubicBezTo>
                <a:close/>
                <a:moveTo>
                  <a:pt x="2263004" y="1472885"/>
                </a:moveTo>
                <a:cubicBezTo>
                  <a:pt x="2272373" y="1472062"/>
                  <a:pt x="2307069" y="1486992"/>
                  <a:pt x="2408173" y="1662017"/>
                </a:cubicBezTo>
                <a:lnTo>
                  <a:pt x="2410437" y="1664487"/>
                </a:lnTo>
                <a:cubicBezTo>
                  <a:pt x="2459444" y="1705052"/>
                  <a:pt x="2507525" y="1764869"/>
                  <a:pt x="2558488" y="1828085"/>
                </a:cubicBezTo>
                <a:cubicBezTo>
                  <a:pt x="2596951" y="1877631"/>
                  <a:pt x="2637948" y="1925158"/>
                  <a:pt x="2681315" y="1970473"/>
                </a:cubicBezTo>
                <a:cubicBezTo>
                  <a:pt x="2586697" y="1934541"/>
                  <a:pt x="2460988" y="1915906"/>
                  <a:pt x="2384287" y="1873900"/>
                </a:cubicBezTo>
                <a:cubicBezTo>
                  <a:pt x="2380683" y="1871841"/>
                  <a:pt x="2312217" y="1830042"/>
                  <a:pt x="2293891" y="1830041"/>
                </a:cubicBezTo>
                <a:cubicBezTo>
                  <a:pt x="2291170" y="1829987"/>
                  <a:pt x="2288450" y="1830159"/>
                  <a:pt x="2285757" y="1830556"/>
                </a:cubicBezTo>
                <a:cubicBezTo>
                  <a:pt x="2285414" y="1825289"/>
                  <a:pt x="2284233" y="1820110"/>
                  <a:pt x="2282257" y="1815216"/>
                </a:cubicBezTo>
                <a:cubicBezTo>
                  <a:pt x="2281323" y="1812738"/>
                  <a:pt x="2279254" y="1810860"/>
                  <a:pt x="2276698" y="1810171"/>
                </a:cubicBezTo>
                <a:cubicBezTo>
                  <a:pt x="2265269" y="1807288"/>
                  <a:pt x="2256106" y="1805228"/>
                  <a:pt x="2248075" y="1803478"/>
                </a:cubicBezTo>
                <a:cubicBezTo>
                  <a:pt x="2223057" y="1798021"/>
                  <a:pt x="2223057" y="1797301"/>
                  <a:pt x="2223468" y="1792565"/>
                </a:cubicBezTo>
                <a:cubicBezTo>
                  <a:pt x="2223881" y="1787829"/>
                  <a:pt x="2225837" y="1742322"/>
                  <a:pt x="2227278" y="1707009"/>
                </a:cubicBezTo>
                <a:cubicBezTo>
                  <a:pt x="2228307" y="1683843"/>
                  <a:pt x="2229131" y="1664487"/>
                  <a:pt x="2229131" y="1663664"/>
                </a:cubicBezTo>
                <a:cubicBezTo>
                  <a:pt x="2229852" y="1660472"/>
                  <a:pt x="2230470" y="1655118"/>
                  <a:pt x="2231603" y="1645851"/>
                </a:cubicBezTo>
                <a:cubicBezTo>
                  <a:pt x="2247973" y="1510671"/>
                  <a:pt x="2258166" y="1479064"/>
                  <a:pt x="2263004" y="1472885"/>
                </a:cubicBezTo>
                <a:close/>
                <a:moveTo>
                  <a:pt x="2654441" y="1313317"/>
                </a:moveTo>
                <a:cubicBezTo>
                  <a:pt x="2668769" y="1302146"/>
                  <a:pt x="2685780" y="1333419"/>
                  <a:pt x="2723424" y="1392683"/>
                </a:cubicBezTo>
                <a:cubicBezTo>
                  <a:pt x="2723633" y="1404583"/>
                  <a:pt x="2720026" y="1416237"/>
                  <a:pt x="2713128" y="1425937"/>
                </a:cubicBezTo>
                <a:cubicBezTo>
                  <a:pt x="2710952" y="1432938"/>
                  <a:pt x="2704598" y="1437807"/>
                  <a:pt x="2697274" y="1438087"/>
                </a:cubicBezTo>
                <a:cubicBezTo>
                  <a:pt x="2689346" y="1439939"/>
                  <a:pt x="2681314" y="1435513"/>
                  <a:pt x="2675446" y="1420276"/>
                </a:cubicBezTo>
                <a:cubicBezTo>
                  <a:pt x="2676991" y="1425218"/>
                  <a:pt x="2671933" y="1444580"/>
                  <a:pt x="2676387" y="1450651"/>
                </a:cubicBezTo>
                <a:lnTo>
                  <a:pt x="2684546" y="1451260"/>
                </a:lnTo>
                <a:lnTo>
                  <a:pt x="2684610" y="1451162"/>
                </a:lnTo>
                <a:lnTo>
                  <a:pt x="2684609" y="1451265"/>
                </a:lnTo>
                <a:lnTo>
                  <a:pt x="2684546" y="1451260"/>
                </a:lnTo>
                <a:lnTo>
                  <a:pt x="2667146" y="1477957"/>
                </a:lnTo>
                <a:cubicBezTo>
                  <a:pt x="2664765" y="1488149"/>
                  <a:pt x="2666901" y="1499706"/>
                  <a:pt x="2676784" y="1512936"/>
                </a:cubicBezTo>
                <a:cubicBezTo>
                  <a:pt x="2629116" y="1500169"/>
                  <a:pt x="2620776" y="1452089"/>
                  <a:pt x="2620262" y="1411833"/>
                </a:cubicBezTo>
                <a:cubicBezTo>
                  <a:pt x="2621909" y="1404935"/>
                  <a:pt x="2627675" y="1382387"/>
                  <a:pt x="2627675" y="1382387"/>
                </a:cubicBezTo>
                <a:cubicBezTo>
                  <a:pt x="2638215" y="1342003"/>
                  <a:pt x="2645846" y="1320020"/>
                  <a:pt x="2654441" y="1313317"/>
                </a:cubicBezTo>
                <a:close/>
                <a:moveTo>
                  <a:pt x="2300789" y="1402361"/>
                </a:moveTo>
                <a:cubicBezTo>
                  <a:pt x="2361534" y="1434689"/>
                  <a:pt x="2418468" y="1491418"/>
                  <a:pt x="2473550" y="1546396"/>
                </a:cubicBezTo>
                <a:lnTo>
                  <a:pt x="2473550" y="1546294"/>
                </a:lnTo>
                <a:cubicBezTo>
                  <a:pt x="2514285" y="1589082"/>
                  <a:pt x="2558163" y="1628761"/>
                  <a:pt x="2604819" y="1665002"/>
                </a:cubicBezTo>
                <a:cubicBezTo>
                  <a:pt x="2599671" y="1666340"/>
                  <a:pt x="2530175" y="1628864"/>
                  <a:pt x="2528528" y="1629276"/>
                </a:cubicBezTo>
                <a:cubicBezTo>
                  <a:pt x="2510099" y="1604259"/>
                  <a:pt x="2476535" y="1580269"/>
                  <a:pt x="2441118" y="1554942"/>
                </a:cubicBezTo>
                <a:cubicBezTo>
                  <a:pt x="2382640" y="1513039"/>
                  <a:pt x="2316747" y="1465886"/>
                  <a:pt x="2300789" y="1402361"/>
                </a:cubicBezTo>
                <a:close/>
                <a:moveTo>
                  <a:pt x="2768313" y="1246074"/>
                </a:moveTo>
                <a:cubicBezTo>
                  <a:pt x="2801568" y="1276961"/>
                  <a:pt x="2761827" y="1343058"/>
                  <a:pt x="2753281" y="1365709"/>
                </a:cubicBezTo>
                <a:cubicBezTo>
                  <a:pt x="2799199" y="1338322"/>
                  <a:pt x="2832145" y="1268620"/>
                  <a:pt x="2838117" y="1288388"/>
                </a:cubicBezTo>
                <a:cubicBezTo>
                  <a:pt x="2876829" y="1308979"/>
                  <a:pt x="2850266" y="1402361"/>
                  <a:pt x="2825144" y="1452398"/>
                </a:cubicBezTo>
                <a:cubicBezTo>
                  <a:pt x="2824311" y="1445293"/>
                  <a:pt x="2819985" y="1439075"/>
                  <a:pt x="2813613" y="1435822"/>
                </a:cubicBezTo>
                <a:cubicBezTo>
                  <a:pt x="2789111" y="1421099"/>
                  <a:pt x="2837087" y="1373328"/>
                  <a:pt x="2812584" y="1342338"/>
                </a:cubicBezTo>
                <a:cubicBezTo>
                  <a:pt x="2788492" y="1393816"/>
                  <a:pt x="2776549" y="1477313"/>
                  <a:pt x="2729086" y="1381461"/>
                </a:cubicBezTo>
                <a:cubicBezTo>
                  <a:pt x="2725380" y="1374459"/>
                  <a:pt x="2660414" y="1241132"/>
                  <a:pt x="2697067" y="1302905"/>
                </a:cubicBezTo>
                <a:cubicBezTo>
                  <a:pt x="2728367" y="1310215"/>
                  <a:pt x="2727748" y="1388770"/>
                  <a:pt x="2739896" y="1383520"/>
                </a:cubicBezTo>
                <a:lnTo>
                  <a:pt x="2739896" y="1383417"/>
                </a:lnTo>
                <a:cubicBezTo>
                  <a:pt x="2753756" y="1374970"/>
                  <a:pt x="2758328" y="1356999"/>
                  <a:pt x="2750192" y="1342955"/>
                </a:cubicBezTo>
                <a:cubicBezTo>
                  <a:pt x="2778093" y="1318864"/>
                  <a:pt x="2757399" y="1274593"/>
                  <a:pt x="2768313" y="1246074"/>
                </a:cubicBezTo>
                <a:close/>
                <a:moveTo>
                  <a:pt x="2575991" y="1285402"/>
                </a:moveTo>
                <a:cubicBezTo>
                  <a:pt x="2618614" y="1306921"/>
                  <a:pt x="2612642" y="1323909"/>
                  <a:pt x="2604304" y="1347176"/>
                </a:cubicBezTo>
                <a:cubicBezTo>
                  <a:pt x="2598126" y="1364884"/>
                  <a:pt x="2600597" y="1430674"/>
                  <a:pt x="2601937" y="1448794"/>
                </a:cubicBezTo>
                <a:cubicBezTo>
                  <a:pt x="2601937" y="1451883"/>
                  <a:pt x="2602451" y="1455590"/>
                  <a:pt x="2602657" y="1458266"/>
                </a:cubicBezTo>
                <a:lnTo>
                  <a:pt x="2600906" y="1457133"/>
                </a:lnTo>
                <a:cubicBezTo>
                  <a:pt x="2595450" y="1452089"/>
                  <a:pt x="2594832" y="1436542"/>
                  <a:pt x="2594317" y="1423466"/>
                </a:cubicBezTo>
                <a:cubicBezTo>
                  <a:pt x="2595276" y="1411387"/>
                  <a:pt x="2593002" y="1399270"/>
                  <a:pt x="2587728" y="1388358"/>
                </a:cubicBezTo>
                <a:lnTo>
                  <a:pt x="2585257" y="1384961"/>
                </a:lnTo>
                <a:lnTo>
                  <a:pt x="2581346" y="1386506"/>
                </a:lnTo>
                <a:cubicBezTo>
                  <a:pt x="2564460" y="1392889"/>
                  <a:pt x="2566828" y="1407097"/>
                  <a:pt x="2568373" y="1416672"/>
                </a:cubicBezTo>
                <a:cubicBezTo>
                  <a:pt x="2569917" y="1426246"/>
                  <a:pt x="2570945" y="1432424"/>
                  <a:pt x="2558077" y="1434586"/>
                </a:cubicBezTo>
                <a:lnTo>
                  <a:pt x="2554782" y="1436440"/>
                </a:lnTo>
                <a:cubicBezTo>
                  <a:pt x="2553546" y="1435513"/>
                  <a:pt x="2544487" y="1423879"/>
                  <a:pt x="2544487" y="1423879"/>
                </a:cubicBezTo>
                <a:cubicBezTo>
                  <a:pt x="2544487" y="1423879"/>
                  <a:pt x="2556944" y="1432424"/>
                  <a:pt x="2557768" y="1432116"/>
                </a:cubicBezTo>
                <a:lnTo>
                  <a:pt x="2557768" y="1432012"/>
                </a:lnTo>
                <a:cubicBezTo>
                  <a:pt x="2564356" y="1429747"/>
                  <a:pt x="2563430" y="1423879"/>
                  <a:pt x="2557767" y="1390830"/>
                </a:cubicBezTo>
                <a:cubicBezTo>
                  <a:pt x="2557174" y="1379740"/>
                  <a:pt x="2557450" y="1368621"/>
                  <a:pt x="2558591" y="1357574"/>
                </a:cubicBezTo>
                <a:cubicBezTo>
                  <a:pt x="2563430" y="1341205"/>
                  <a:pt x="2569608" y="1320819"/>
                  <a:pt x="2562607" y="1308362"/>
                </a:cubicBezTo>
                <a:cubicBezTo>
                  <a:pt x="2560959" y="1305479"/>
                  <a:pt x="2571770" y="1292198"/>
                  <a:pt x="2573932" y="1288388"/>
                </a:cubicBezTo>
                <a:cubicBezTo>
                  <a:pt x="2574552" y="1287349"/>
                  <a:pt x="2575240" y="1286352"/>
                  <a:pt x="2575991" y="1285402"/>
                </a:cubicBezTo>
                <a:close/>
                <a:moveTo>
                  <a:pt x="2241795" y="1342749"/>
                </a:moveTo>
                <a:cubicBezTo>
                  <a:pt x="2287405" y="1413377"/>
                  <a:pt x="2332809" y="1491829"/>
                  <a:pt x="2375638" y="1566782"/>
                </a:cubicBezTo>
                <a:cubicBezTo>
                  <a:pt x="2321276" y="1498414"/>
                  <a:pt x="2276267" y="1423108"/>
                  <a:pt x="2241795" y="1342852"/>
                </a:cubicBezTo>
                <a:close/>
                <a:moveTo>
                  <a:pt x="2805776" y="1148029"/>
                </a:moveTo>
                <a:cubicBezTo>
                  <a:pt x="2807314" y="1147647"/>
                  <a:pt x="2807926" y="1147956"/>
                  <a:pt x="2807952" y="1147956"/>
                </a:cubicBezTo>
                <a:lnTo>
                  <a:pt x="2807952" y="1147853"/>
                </a:lnTo>
                <a:cubicBezTo>
                  <a:pt x="2838838" y="1169782"/>
                  <a:pt x="2746795" y="1270371"/>
                  <a:pt x="2757709" y="1197067"/>
                </a:cubicBezTo>
                <a:cubicBezTo>
                  <a:pt x="2788208" y="1156528"/>
                  <a:pt x="2801163" y="1149172"/>
                  <a:pt x="2805776" y="1148029"/>
                </a:cubicBezTo>
                <a:close/>
                <a:moveTo>
                  <a:pt x="1665749" y="1414840"/>
                </a:moveTo>
                <a:cubicBezTo>
                  <a:pt x="1670517" y="1413011"/>
                  <a:pt x="1669204" y="1480634"/>
                  <a:pt x="1669976" y="1494919"/>
                </a:cubicBezTo>
                <a:cubicBezTo>
                  <a:pt x="1670366" y="1512182"/>
                  <a:pt x="1673853" y="1529234"/>
                  <a:pt x="1680272" y="1545264"/>
                </a:cubicBezTo>
                <a:cubicBezTo>
                  <a:pt x="1668433" y="1552472"/>
                  <a:pt x="1654224" y="1557928"/>
                  <a:pt x="1645988" y="1549074"/>
                </a:cubicBezTo>
                <a:cubicBezTo>
                  <a:pt x="1630338" y="1532909"/>
                  <a:pt x="1645576" y="1527041"/>
                  <a:pt x="1658652" y="1444471"/>
                </a:cubicBezTo>
                <a:lnTo>
                  <a:pt x="1658652" y="1444367"/>
                </a:lnTo>
                <a:cubicBezTo>
                  <a:pt x="1661895" y="1423776"/>
                  <a:pt x="1664160" y="1415449"/>
                  <a:pt x="1665749" y="1414840"/>
                </a:cubicBezTo>
                <a:close/>
                <a:moveTo>
                  <a:pt x="2598950" y="1100802"/>
                </a:moveTo>
                <a:cubicBezTo>
                  <a:pt x="2609245" y="1106053"/>
                  <a:pt x="2616144" y="1123453"/>
                  <a:pt x="2624071" y="1146103"/>
                </a:cubicBezTo>
                <a:cubicBezTo>
                  <a:pt x="2626749" y="1153927"/>
                  <a:pt x="2629425" y="1161547"/>
                  <a:pt x="2632823" y="1169165"/>
                </a:cubicBezTo>
                <a:cubicBezTo>
                  <a:pt x="2639309" y="1180078"/>
                  <a:pt x="2648780" y="1193463"/>
                  <a:pt x="2655988" y="1194903"/>
                </a:cubicBezTo>
                <a:cubicBezTo>
                  <a:pt x="2659371" y="1196175"/>
                  <a:pt x="2663145" y="1195873"/>
                  <a:pt x="2666284" y="1194080"/>
                </a:cubicBezTo>
                <a:cubicBezTo>
                  <a:pt x="2676579" y="1188418"/>
                  <a:pt x="2683683" y="1166694"/>
                  <a:pt x="2687492" y="1151148"/>
                </a:cubicBezTo>
                <a:cubicBezTo>
                  <a:pt x="2715291" y="1176269"/>
                  <a:pt x="2719718" y="1207774"/>
                  <a:pt x="2716835" y="1245455"/>
                </a:cubicBezTo>
                <a:cubicBezTo>
                  <a:pt x="2714539" y="1241125"/>
                  <a:pt x="2711887" y="1236993"/>
                  <a:pt x="2708907" y="1233101"/>
                </a:cubicBezTo>
                <a:cubicBezTo>
                  <a:pt x="2706203" y="1229514"/>
                  <a:pt x="2701103" y="1228800"/>
                  <a:pt x="2697517" y="1231504"/>
                </a:cubicBezTo>
                <a:cubicBezTo>
                  <a:pt x="2695378" y="1233117"/>
                  <a:pt x="2694171" y="1235677"/>
                  <a:pt x="2694287" y="1238352"/>
                </a:cubicBezTo>
                <a:cubicBezTo>
                  <a:pt x="2695373" y="1245412"/>
                  <a:pt x="2692234" y="1252457"/>
                  <a:pt x="2686256" y="1256370"/>
                </a:cubicBezTo>
                <a:cubicBezTo>
                  <a:pt x="2680541" y="1258908"/>
                  <a:pt x="2673880" y="1257991"/>
                  <a:pt x="2669063" y="1254001"/>
                </a:cubicBezTo>
                <a:cubicBezTo>
                  <a:pt x="2665472" y="1251303"/>
                  <a:pt x="2660372" y="1252027"/>
                  <a:pt x="2657674" y="1255618"/>
                </a:cubicBezTo>
                <a:cubicBezTo>
                  <a:pt x="2655979" y="1257874"/>
                  <a:pt x="2655575" y="1260847"/>
                  <a:pt x="2656605" y="1263473"/>
                </a:cubicBezTo>
                <a:cubicBezTo>
                  <a:pt x="2657119" y="1264811"/>
                  <a:pt x="2657429" y="1265738"/>
                  <a:pt x="2657635" y="1266459"/>
                </a:cubicBezTo>
                <a:cubicBezTo>
                  <a:pt x="2656741" y="1267026"/>
                  <a:pt x="2655997" y="1267803"/>
                  <a:pt x="2655473" y="1268724"/>
                </a:cubicBezTo>
                <a:cubicBezTo>
                  <a:pt x="2640132" y="1292198"/>
                  <a:pt x="2631484" y="1294669"/>
                  <a:pt x="2629322" y="1293536"/>
                </a:cubicBezTo>
                <a:cubicBezTo>
                  <a:pt x="2619748" y="1288697"/>
                  <a:pt x="2616041" y="1242675"/>
                  <a:pt x="2628704" y="1210142"/>
                </a:cubicBezTo>
                <a:cubicBezTo>
                  <a:pt x="2630164" y="1206107"/>
                  <a:pt x="2628283" y="1201628"/>
                  <a:pt x="2624381" y="1199846"/>
                </a:cubicBezTo>
                <a:cubicBezTo>
                  <a:pt x="2623336" y="1199403"/>
                  <a:pt x="2622218" y="1199157"/>
                  <a:pt x="2621085" y="1199126"/>
                </a:cubicBezTo>
                <a:cubicBezTo>
                  <a:pt x="2618044" y="1199138"/>
                  <a:pt x="2615264" y="1200846"/>
                  <a:pt x="2613878" y="1203552"/>
                </a:cubicBezTo>
                <a:cubicBezTo>
                  <a:pt x="2609636" y="1210946"/>
                  <a:pt x="2604596" y="1217850"/>
                  <a:pt x="2598847" y="1224143"/>
                </a:cubicBezTo>
                <a:cubicBezTo>
                  <a:pt x="2597303" y="1225997"/>
                  <a:pt x="2595758" y="1227747"/>
                  <a:pt x="2594419" y="1229497"/>
                </a:cubicBezTo>
                <a:cubicBezTo>
                  <a:pt x="2581654" y="1210553"/>
                  <a:pt x="2587007" y="1183784"/>
                  <a:pt x="2592670" y="1155780"/>
                </a:cubicBezTo>
                <a:lnTo>
                  <a:pt x="2592670" y="1155678"/>
                </a:lnTo>
                <a:cubicBezTo>
                  <a:pt x="2597154" y="1137739"/>
                  <a:pt x="2599264" y="1119290"/>
                  <a:pt x="2598950" y="1100802"/>
                </a:cubicBezTo>
                <a:close/>
                <a:moveTo>
                  <a:pt x="2393346" y="1158355"/>
                </a:moveTo>
                <a:cubicBezTo>
                  <a:pt x="2394922" y="1159461"/>
                  <a:pt x="2396777" y="1160103"/>
                  <a:pt x="2398700" y="1160208"/>
                </a:cubicBezTo>
                <a:lnTo>
                  <a:pt x="2423822" y="1172048"/>
                </a:lnTo>
                <a:lnTo>
                  <a:pt x="2467578" y="1259664"/>
                </a:lnTo>
                <a:cubicBezTo>
                  <a:pt x="2467578" y="1259664"/>
                  <a:pt x="2520086" y="1426041"/>
                  <a:pt x="2534191" y="1430364"/>
                </a:cubicBezTo>
                <a:cubicBezTo>
                  <a:pt x="2533881" y="1432630"/>
                  <a:pt x="2533264" y="1434483"/>
                  <a:pt x="2532750" y="1436337"/>
                </a:cubicBezTo>
                <a:lnTo>
                  <a:pt x="2532750" y="1436233"/>
                </a:lnTo>
                <a:cubicBezTo>
                  <a:pt x="2530689" y="1444367"/>
                  <a:pt x="2529867" y="1446529"/>
                  <a:pt x="2524512" y="1445602"/>
                </a:cubicBezTo>
                <a:cubicBezTo>
                  <a:pt x="2514217" y="1423982"/>
                  <a:pt x="2396229" y="1211171"/>
                  <a:pt x="2393346" y="1158355"/>
                </a:cubicBezTo>
                <a:close/>
                <a:moveTo>
                  <a:pt x="2769136" y="957385"/>
                </a:moveTo>
                <a:cubicBezTo>
                  <a:pt x="2812894" y="976122"/>
                  <a:pt x="2801258" y="1052412"/>
                  <a:pt x="2776137" y="1087006"/>
                </a:cubicBezTo>
                <a:cubicBezTo>
                  <a:pt x="2777579" y="1092566"/>
                  <a:pt x="2776137" y="1097301"/>
                  <a:pt x="2767592" y="1099670"/>
                </a:cubicBezTo>
                <a:cubicBezTo>
                  <a:pt x="2766340" y="1100347"/>
                  <a:pt x="2764830" y="1100347"/>
                  <a:pt x="2763577" y="1099670"/>
                </a:cubicBezTo>
                <a:cubicBezTo>
                  <a:pt x="2760592" y="1101728"/>
                  <a:pt x="2772328" y="1117687"/>
                  <a:pt x="2769136" y="1118304"/>
                </a:cubicBezTo>
                <a:cubicBezTo>
                  <a:pt x="2786125" y="1132718"/>
                  <a:pt x="2761518" y="1154751"/>
                  <a:pt x="2744015" y="1168960"/>
                </a:cubicBezTo>
                <a:cubicBezTo>
                  <a:pt x="2754311" y="1137557"/>
                  <a:pt x="2729705" y="983947"/>
                  <a:pt x="2769136" y="957487"/>
                </a:cubicBezTo>
                <a:close/>
                <a:moveTo>
                  <a:pt x="808131" y="1516642"/>
                </a:moveTo>
                <a:cubicBezTo>
                  <a:pt x="822853" y="1510465"/>
                  <a:pt x="1433692" y="1524261"/>
                  <a:pt x="1494745" y="1557825"/>
                </a:cubicBezTo>
                <a:cubicBezTo>
                  <a:pt x="1477242" y="1570076"/>
                  <a:pt x="1419896" y="1570180"/>
                  <a:pt x="1384274" y="1570076"/>
                </a:cubicBezTo>
                <a:cubicBezTo>
                  <a:pt x="1369139" y="1570076"/>
                  <a:pt x="1343606" y="1570694"/>
                  <a:pt x="1343606" y="1570694"/>
                </a:cubicBezTo>
                <a:cubicBezTo>
                  <a:pt x="1298510" y="1567812"/>
                  <a:pt x="1252695" y="1564414"/>
                  <a:pt x="1207395" y="1561119"/>
                </a:cubicBezTo>
                <a:cubicBezTo>
                  <a:pt x="1128531" y="1555250"/>
                  <a:pt x="1054196" y="1549794"/>
                  <a:pt x="985010" y="1546499"/>
                </a:cubicBezTo>
                <a:lnTo>
                  <a:pt x="985009" y="1548558"/>
                </a:lnTo>
                <a:cubicBezTo>
                  <a:pt x="982024" y="1539705"/>
                  <a:pt x="967713" y="1537131"/>
                  <a:pt x="954843" y="1534866"/>
                </a:cubicBezTo>
                <a:close/>
                <a:moveTo>
                  <a:pt x="1627147" y="1234645"/>
                </a:moveTo>
                <a:cubicBezTo>
                  <a:pt x="1657416" y="1300537"/>
                  <a:pt x="1656386" y="1423775"/>
                  <a:pt x="1613763" y="1488638"/>
                </a:cubicBezTo>
                <a:cubicBezTo>
                  <a:pt x="1612115" y="1439734"/>
                  <a:pt x="1621073" y="1286638"/>
                  <a:pt x="1627147" y="1234748"/>
                </a:cubicBezTo>
                <a:close/>
                <a:moveTo>
                  <a:pt x="1735730" y="943844"/>
                </a:moveTo>
                <a:cubicBezTo>
                  <a:pt x="1737774" y="944054"/>
                  <a:pt x="1739662" y="945029"/>
                  <a:pt x="1741017" y="946573"/>
                </a:cubicBezTo>
                <a:cubicBezTo>
                  <a:pt x="1744928" y="951103"/>
                  <a:pt x="1753164" y="960473"/>
                  <a:pt x="1743692" y="1404112"/>
                </a:cubicBezTo>
                <a:lnTo>
                  <a:pt x="1743693" y="1413789"/>
                </a:lnTo>
                <a:cubicBezTo>
                  <a:pt x="1745444" y="1485858"/>
                  <a:pt x="1747194" y="1560193"/>
                  <a:pt x="1745444" y="1582637"/>
                </a:cubicBezTo>
                <a:cubicBezTo>
                  <a:pt x="1745228" y="1585544"/>
                  <a:pt x="1743455" y="1588105"/>
                  <a:pt x="1740810" y="1589329"/>
                </a:cubicBezTo>
                <a:cubicBezTo>
                  <a:pt x="1739718" y="1589856"/>
                  <a:pt x="1738522" y="1590136"/>
                  <a:pt x="1737310" y="1590153"/>
                </a:cubicBezTo>
                <a:cubicBezTo>
                  <a:pt x="1735658" y="1590136"/>
                  <a:pt x="1734047" y="1589635"/>
                  <a:pt x="1732676" y="1588712"/>
                </a:cubicBezTo>
                <a:cubicBezTo>
                  <a:pt x="1659269" y="1538365"/>
                  <a:pt x="1682023" y="1396699"/>
                  <a:pt x="1698702" y="1293330"/>
                </a:cubicBezTo>
                <a:lnTo>
                  <a:pt x="1698701" y="1293227"/>
                </a:lnTo>
                <a:cubicBezTo>
                  <a:pt x="1701070" y="1278401"/>
                  <a:pt x="1711777" y="1141676"/>
                  <a:pt x="1718778" y="1051281"/>
                </a:cubicBezTo>
                <a:cubicBezTo>
                  <a:pt x="1722794" y="998979"/>
                  <a:pt x="1726088" y="957693"/>
                  <a:pt x="1726808" y="951103"/>
                </a:cubicBezTo>
                <a:cubicBezTo>
                  <a:pt x="1727267" y="946635"/>
                  <a:pt x="1731262" y="943385"/>
                  <a:pt x="1735730" y="943844"/>
                </a:cubicBezTo>
                <a:close/>
                <a:moveTo>
                  <a:pt x="1594716" y="939264"/>
                </a:moveTo>
                <a:cubicBezTo>
                  <a:pt x="1617881" y="1113569"/>
                  <a:pt x="1618705" y="1251221"/>
                  <a:pt x="1597290" y="1349956"/>
                </a:cubicBezTo>
                <a:lnTo>
                  <a:pt x="1597290" y="1349853"/>
                </a:lnTo>
                <a:cubicBezTo>
                  <a:pt x="1597805" y="1302184"/>
                  <a:pt x="1595540" y="1250809"/>
                  <a:pt x="1593069" y="1197272"/>
                </a:cubicBezTo>
                <a:cubicBezTo>
                  <a:pt x="1589054" y="1107906"/>
                  <a:pt x="1584935" y="1015760"/>
                  <a:pt x="1594716" y="939264"/>
                </a:cubicBezTo>
                <a:close/>
                <a:moveTo>
                  <a:pt x="1513792" y="661283"/>
                </a:moveTo>
                <a:cubicBezTo>
                  <a:pt x="1517704" y="707510"/>
                  <a:pt x="1523059" y="753119"/>
                  <a:pt x="1529646" y="797597"/>
                </a:cubicBezTo>
                <a:cubicBezTo>
                  <a:pt x="1530256" y="801561"/>
                  <a:pt x="1533667" y="804491"/>
                  <a:pt x="1537678" y="804494"/>
                </a:cubicBezTo>
                <a:cubicBezTo>
                  <a:pt x="1541689" y="804491"/>
                  <a:pt x="1545100" y="801561"/>
                  <a:pt x="1545708" y="797597"/>
                </a:cubicBezTo>
                <a:cubicBezTo>
                  <a:pt x="1546533" y="792036"/>
                  <a:pt x="1547355" y="786374"/>
                  <a:pt x="1548076" y="780609"/>
                </a:cubicBezTo>
                <a:cubicBezTo>
                  <a:pt x="1547562" y="816746"/>
                  <a:pt x="1546533" y="847221"/>
                  <a:pt x="1545502" y="870490"/>
                </a:cubicBezTo>
                <a:lnTo>
                  <a:pt x="1544267" y="870489"/>
                </a:lnTo>
                <a:cubicBezTo>
                  <a:pt x="1531500" y="877182"/>
                  <a:pt x="1528825" y="913215"/>
                  <a:pt x="1533972" y="1008965"/>
                </a:cubicBezTo>
                <a:cubicBezTo>
                  <a:pt x="1531398" y="966753"/>
                  <a:pt x="1529132" y="923718"/>
                  <a:pt x="1526662" y="880167"/>
                </a:cubicBezTo>
                <a:cubicBezTo>
                  <a:pt x="1522750" y="807274"/>
                  <a:pt x="1518734" y="733557"/>
                  <a:pt x="1513792" y="661283"/>
                </a:cubicBezTo>
                <a:close/>
                <a:moveTo>
                  <a:pt x="1135016" y="705451"/>
                </a:moveTo>
                <a:cubicBezTo>
                  <a:pt x="1172919" y="783162"/>
                  <a:pt x="1206601" y="862864"/>
                  <a:pt x="1235914" y="944206"/>
                </a:cubicBezTo>
                <a:cubicBezTo>
                  <a:pt x="1265976" y="1022761"/>
                  <a:pt x="1296760" y="1103376"/>
                  <a:pt x="1332589" y="1174725"/>
                </a:cubicBezTo>
                <a:cubicBezTo>
                  <a:pt x="1265050" y="1052619"/>
                  <a:pt x="1206982" y="915069"/>
                  <a:pt x="1135016" y="705451"/>
                </a:cubicBezTo>
                <a:close/>
                <a:moveTo>
                  <a:pt x="308176" y="823130"/>
                </a:moveTo>
                <a:cubicBezTo>
                  <a:pt x="391055" y="879446"/>
                  <a:pt x="472906" y="942147"/>
                  <a:pt x="552181" y="1003097"/>
                </a:cubicBezTo>
                <a:cubicBezTo>
                  <a:pt x="693540" y="1111715"/>
                  <a:pt x="839636" y="1223835"/>
                  <a:pt x="998702" y="1305788"/>
                </a:cubicBezTo>
                <a:cubicBezTo>
                  <a:pt x="969463" y="1300640"/>
                  <a:pt x="914999" y="1269960"/>
                  <a:pt x="836443" y="1214261"/>
                </a:cubicBezTo>
                <a:lnTo>
                  <a:pt x="827899" y="1208289"/>
                </a:lnTo>
                <a:lnTo>
                  <a:pt x="764786" y="1166076"/>
                </a:lnTo>
                <a:cubicBezTo>
                  <a:pt x="608087" y="1061474"/>
                  <a:pt x="446548" y="953574"/>
                  <a:pt x="308176" y="823130"/>
                </a:cubicBezTo>
                <a:close/>
                <a:moveTo>
                  <a:pt x="1555284" y="71961"/>
                </a:moveTo>
                <a:cubicBezTo>
                  <a:pt x="1557034" y="126013"/>
                  <a:pt x="1557034" y="189846"/>
                  <a:pt x="1557137" y="256252"/>
                </a:cubicBezTo>
                <a:cubicBezTo>
                  <a:pt x="1557136" y="295376"/>
                  <a:pt x="1557137" y="335014"/>
                  <a:pt x="1557754" y="373211"/>
                </a:cubicBezTo>
                <a:cubicBezTo>
                  <a:pt x="1555970" y="345139"/>
                  <a:pt x="1553773" y="317203"/>
                  <a:pt x="1551166" y="289405"/>
                </a:cubicBezTo>
                <a:cubicBezTo>
                  <a:pt x="1550688" y="285181"/>
                  <a:pt x="1547076" y="282015"/>
                  <a:pt x="1542825" y="282095"/>
                </a:cubicBezTo>
                <a:cubicBezTo>
                  <a:pt x="1538531" y="282201"/>
                  <a:pt x="1535060" y="285627"/>
                  <a:pt x="1534898" y="289919"/>
                </a:cubicBezTo>
                <a:cubicBezTo>
                  <a:pt x="1532839" y="347368"/>
                  <a:pt x="1534897" y="412643"/>
                  <a:pt x="1536957" y="481830"/>
                </a:cubicBezTo>
                <a:cubicBezTo>
                  <a:pt x="1539428" y="566459"/>
                  <a:pt x="1542105" y="653458"/>
                  <a:pt x="1536956" y="728925"/>
                </a:cubicBezTo>
                <a:cubicBezTo>
                  <a:pt x="1511321" y="509422"/>
                  <a:pt x="1518117" y="268195"/>
                  <a:pt x="1555284" y="71961"/>
                </a:cubicBezTo>
                <a:close/>
                <a:moveTo>
                  <a:pt x="693540" y="231441"/>
                </a:moveTo>
                <a:cubicBezTo>
                  <a:pt x="691192" y="232894"/>
                  <a:pt x="689784" y="235476"/>
                  <a:pt x="689834" y="238235"/>
                </a:cubicBezTo>
                <a:lnTo>
                  <a:pt x="689834" y="269122"/>
                </a:lnTo>
                <a:cubicBezTo>
                  <a:pt x="689860" y="270334"/>
                  <a:pt x="690141" y="271527"/>
                  <a:pt x="690658" y="272623"/>
                </a:cubicBezTo>
                <a:lnTo>
                  <a:pt x="721338" y="333469"/>
                </a:lnTo>
                <a:cubicBezTo>
                  <a:pt x="786303" y="579638"/>
                  <a:pt x="896363" y="774328"/>
                  <a:pt x="1034016" y="1003303"/>
                </a:cubicBezTo>
                <a:lnTo>
                  <a:pt x="1051313" y="1031924"/>
                </a:lnTo>
                <a:lnTo>
                  <a:pt x="1053268" y="1034190"/>
                </a:lnTo>
                <a:cubicBezTo>
                  <a:pt x="1094451" y="1070224"/>
                  <a:pt x="1128529" y="1114908"/>
                  <a:pt x="1161578" y="1158458"/>
                </a:cubicBezTo>
                <a:cubicBezTo>
                  <a:pt x="1162505" y="1159694"/>
                  <a:pt x="1254239" y="1279740"/>
                  <a:pt x="1270609" y="1279740"/>
                </a:cubicBezTo>
                <a:cubicBezTo>
                  <a:pt x="1274286" y="1279806"/>
                  <a:pt x="1277527" y="1277334"/>
                  <a:pt x="1278434" y="1273769"/>
                </a:cubicBezTo>
                <a:lnTo>
                  <a:pt x="1281831" y="1261620"/>
                </a:lnTo>
                <a:cubicBezTo>
                  <a:pt x="1282343" y="1260048"/>
                  <a:pt x="1282343" y="1258353"/>
                  <a:pt x="1281831" y="1256781"/>
                </a:cubicBezTo>
                <a:cubicBezTo>
                  <a:pt x="1260949" y="1216925"/>
                  <a:pt x="1236846" y="1178843"/>
                  <a:pt x="1209762" y="1142912"/>
                </a:cubicBezTo>
                <a:cubicBezTo>
                  <a:pt x="1194801" y="1125925"/>
                  <a:pt x="1181299" y="1107706"/>
                  <a:pt x="1169403" y="1088448"/>
                </a:cubicBezTo>
                <a:cubicBezTo>
                  <a:pt x="1077978" y="971799"/>
                  <a:pt x="1004673" y="845471"/>
                  <a:pt x="926530" y="711629"/>
                </a:cubicBezTo>
                <a:cubicBezTo>
                  <a:pt x="915411" y="692684"/>
                  <a:pt x="904394" y="673534"/>
                  <a:pt x="893173" y="654487"/>
                </a:cubicBezTo>
                <a:cubicBezTo>
                  <a:pt x="846327" y="574491"/>
                  <a:pt x="804012" y="463915"/>
                  <a:pt x="769625" y="374961"/>
                </a:cubicBezTo>
                <a:cubicBezTo>
                  <a:pt x="733076" y="279521"/>
                  <a:pt x="716293" y="237103"/>
                  <a:pt x="701262" y="230822"/>
                </a:cubicBezTo>
                <a:cubicBezTo>
                  <a:pt x="698756" y="229671"/>
                  <a:pt x="695832" y="229906"/>
                  <a:pt x="693540" y="231441"/>
                </a:cubicBezTo>
                <a:close/>
                <a:moveTo>
                  <a:pt x="233327" y="166165"/>
                </a:moveTo>
                <a:cubicBezTo>
                  <a:pt x="229505" y="168022"/>
                  <a:pt x="227754" y="172508"/>
                  <a:pt x="229311" y="176461"/>
                </a:cubicBezTo>
                <a:cubicBezTo>
                  <a:pt x="343387" y="500155"/>
                  <a:pt x="595835" y="775975"/>
                  <a:pt x="840047" y="1042735"/>
                </a:cubicBezTo>
                <a:lnTo>
                  <a:pt x="870934" y="1075886"/>
                </a:lnTo>
                <a:cubicBezTo>
                  <a:pt x="696938" y="917746"/>
                  <a:pt x="548475" y="720482"/>
                  <a:pt x="404130" y="528880"/>
                </a:cubicBezTo>
                <a:cubicBezTo>
                  <a:pt x="348122" y="454547"/>
                  <a:pt x="290261" y="377741"/>
                  <a:pt x="232503" y="305466"/>
                </a:cubicBezTo>
                <a:cubicBezTo>
                  <a:pt x="229669" y="301980"/>
                  <a:pt x="224546" y="301452"/>
                  <a:pt x="221060" y="304286"/>
                </a:cubicBezTo>
                <a:cubicBezTo>
                  <a:pt x="218176" y="306631"/>
                  <a:pt x="217248" y="310636"/>
                  <a:pt x="218809" y="314011"/>
                </a:cubicBezTo>
                <a:cubicBezTo>
                  <a:pt x="398880" y="697420"/>
                  <a:pt x="707337" y="1058591"/>
                  <a:pt x="1074890" y="1319481"/>
                </a:cubicBezTo>
                <a:cubicBezTo>
                  <a:pt x="711661" y="1122115"/>
                  <a:pt x="428017" y="767636"/>
                  <a:pt x="196160" y="477814"/>
                </a:cubicBezTo>
                <a:cubicBezTo>
                  <a:pt x="156932" y="428807"/>
                  <a:pt x="119972" y="382580"/>
                  <a:pt x="83525" y="338103"/>
                </a:cubicBezTo>
                <a:cubicBezTo>
                  <a:pt x="81408" y="335536"/>
                  <a:pt x="77942" y="334517"/>
                  <a:pt x="74774" y="335529"/>
                </a:cubicBezTo>
                <a:cubicBezTo>
                  <a:pt x="69818" y="336993"/>
                  <a:pt x="65942" y="340869"/>
                  <a:pt x="64478" y="345825"/>
                </a:cubicBezTo>
                <a:cubicBezTo>
                  <a:pt x="51712" y="387315"/>
                  <a:pt x="211912" y="580359"/>
                  <a:pt x="438415" y="848456"/>
                </a:cubicBezTo>
                <a:cubicBezTo>
                  <a:pt x="467860" y="883359"/>
                  <a:pt x="496380" y="916922"/>
                  <a:pt x="521913" y="947501"/>
                </a:cubicBezTo>
                <a:cubicBezTo>
                  <a:pt x="461168" y="901479"/>
                  <a:pt x="401454" y="851648"/>
                  <a:pt x="343387" y="803362"/>
                </a:cubicBezTo>
                <a:cubicBezTo>
                  <a:pt x="252271" y="727071"/>
                  <a:pt x="158065" y="648310"/>
                  <a:pt x="59331" y="584477"/>
                </a:cubicBezTo>
                <a:cubicBezTo>
                  <a:pt x="56009" y="582371"/>
                  <a:pt x="51650" y="582982"/>
                  <a:pt x="49035" y="585918"/>
                </a:cubicBezTo>
                <a:cubicBezTo>
                  <a:pt x="46586" y="588914"/>
                  <a:pt x="46586" y="593219"/>
                  <a:pt x="49035" y="596214"/>
                </a:cubicBezTo>
                <a:cubicBezTo>
                  <a:pt x="440989" y="1043352"/>
                  <a:pt x="985936" y="1406685"/>
                  <a:pt x="1343606" y="1459811"/>
                </a:cubicBezTo>
                <a:cubicBezTo>
                  <a:pt x="1349062" y="1461355"/>
                  <a:pt x="1352047" y="1465165"/>
                  <a:pt x="1356784" y="1471856"/>
                </a:cubicBezTo>
                <a:lnTo>
                  <a:pt x="1358329" y="1474018"/>
                </a:lnTo>
                <a:cubicBezTo>
                  <a:pt x="1204717" y="1448177"/>
                  <a:pt x="824398" y="1357781"/>
                  <a:pt x="39151" y="853089"/>
                </a:cubicBezTo>
                <a:lnTo>
                  <a:pt x="14853" y="837544"/>
                </a:lnTo>
                <a:cubicBezTo>
                  <a:pt x="12160" y="835796"/>
                  <a:pt x="8692" y="835796"/>
                  <a:pt x="5999" y="837544"/>
                </a:cubicBezTo>
                <a:cubicBezTo>
                  <a:pt x="1505" y="840490"/>
                  <a:pt x="-771" y="845855"/>
                  <a:pt x="234" y="851134"/>
                </a:cubicBezTo>
                <a:cubicBezTo>
                  <a:pt x="10530" y="919908"/>
                  <a:pt x="765404" y="1347176"/>
                  <a:pt x="1236428" y="1489462"/>
                </a:cubicBezTo>
                <a:cubicBezTo>
                  <a:pt x="993966" y="1507376"/>
                  <a:pt x="759741" y="1444779"/>
                  <a:pt x="532826" y="1384035"/>
                </a:cubicBezTo>
                <a:cubicBezTo>
                  <a:pt x="484333" y="1371062"/>
                  <a:pt x="434193" y="1357678"/>
                  <a:pt x="384878" y="1345323"/>
                </a:cubicBezTo>
                <a:cubicBezTo>
                  <a:pt x="382071" y="1344618"/>
                  <a:pt x="379101" y="1345440"/>
                  <a:pt x="377054" y="1347485"/>
                </a:cubicBezTo>
                <a:cubicBezTo>
                  <a:pt x="375062" y="1349564"/>
                  <a:pt x="374284" y="1352521"/>
                  <a:pt x="374994" y="1355310"/>
                </a:cubicBezTo>
                <a:cubicBezTo>
                  <a:pt x="382819" y="1385270"/>
                  <a:pt x="481760" y="1418114"/>
                  <a:pt x="631766" y="1464753"/>
                </a:cubicBezTo>
                <a:cubicBezTo>
                  <a:pt x="696011" y="1484726"/>
                  <a:pt x="756653" y="1503567"/>
                  <a:pt x="771685" y="1514171"/>
                </a:cubicBezTo>
                <a:cubicBezTo>
                  <a:pt x="775349" y="1515773"/>
                  <a:pt x="778805" y="1517813"/>
                  <a:pt x="781979" y="1520246"/>
                </a:cubicBezTo>
                <a:cubicBezTo>
                  <a:pt x="756344" y="1535175"/>
                  <a:pt x="574935" y="1534351"/>
                  <a:pt x="453446" y="1533733"/>
                </a:cubicBezTo>
                <a:cubicBezTo>
                  <a:pt x="256800" y="1532909"/>
                  <a:pt x="206352" y="1534453"/>
                  <a:pt x="198527" y="1547941"/>
                </a:cubicBezTo>
                <a:cubicBezTo>
                  <a:pt x="196688" y="1551127"/>
                  <a:pt x="196689" y="1555052"/>
                  <a:pt x="198527" y="1558237"/>
                </a:cubicBezTo>
                <a:cubicBezTo>
                  <a:pt x="199846" y="1560609"/>
                  <a:pt x="202302" y="1562129"/>
                  <a:pt x="205014" y="1562253"/>
                </a:cubicBezTo>
                <a:cubicBezTo>
                  <a:pt x="516353" y="1580371"/>
                  <a:pt x="749960" y="1579240"/>
                  <a:pt x="937752" y="1578313"/>
                </a:cubicBezTo>
                <a:cubicBezTo>
                  <a:pt x="1076023" y="1577695"/>
                  <a:pt x="1189481" y="1577181"/>
                  <a:pt x="1291510" y="1584490"/>
                </a:cubicBezTo>
                <a:lnTo>
                  <a:pt x="1281214" y="1586344"/>
                </a:lnTo>
                <a:cubicBezTo>
                  <a:pt x="1245591" y="1593035"/>
                  <a:pt x="1209144" y="1600037"/>
                  <a:pt x="1190510" y="1609611"/>
                </a:cubicBezTo>
                <a:cubicBezTo>
                  <a:pt x="1188198" y="1610830"/>
                  <a:pt x="1186624" y="1613095"/>
                  <a:pt x="1186288" y="1615686"/>
                </a:cubicBezTo>
                <a:cubicBezTo>
                  <a:pt x="986759" y="1627938"/>
                  <a:pt x="757580" y="1628967"/>
                  <a:pt x="645357" y="1592933"/>
                </a:cubicBezTo>
                <a:cubicBezTo>
                  <a:pt x="641069" y="1591596"/>
                  <a:pt x="636508" y="1593989"/>
                  <a:pt x="635171" y="1598277"/>
                </a:cubicBezTo>
                <a:cubicBezTo>
                  <a:pt x="634176" y="1601469"/>
                  <a:pt x="635235" y="1604944"/>
                  <a:pt x="637841" y="1607038"/>
                </a:cubicBezTo>
                <a:cubicBezTo>
                  <a:pt x="776831" y="1717818"/>
                  <a:pt x="1004572" y="1689402"/>
                  <a:pt x="1208630" y="1660679"/>
                </a:cubicBezTo>
                <a:cubicBezTo>
                  <a:pt x="879994" y="1732748"/>
                  <a:pt x="477641" y="1770018"/>
                  <a:pt x="296336" y="1765693"/>
                </a:cubicBezTo>
                <a:cubicBezTo>
                  <a:pt x="293151" y="1765676"/>
                  <a:pt x="290235" y="1767474"/>
                  <a:pt x="288821" y="1770326"/>
                </a:cubicBezTo>
                <a:cubicBezTo>
                  <a:pt x="285701" y="1776112"/>
                  <a:pt x="286223" y="1783182"/>
                  <a:pt x="290158" y="1788447"/>
                </a:cubicBezTo>
                <a:cubicBezTo>
                  <a:pt x="323516" y="1833232"/>
                  <a:pt x="703631" y="1785769"/>
                  <a:pt x="1306130" y="1694756"/>
                </a:cubicBezTo>
                <a:cubicBezTo>
                  <a:pt x="1369447" y="1685284"/>
                  <a:pt x="1424221" y="1676945"/>
                  <a:pt x="1464991" y="1671179"/>
                </a:cubicBezTo>
                <a:cubicBezTo>
                  <a:pt x="1354519" y="1718540"/>
                  <a:pt x="1221911" y="1765693"/>
                  <a:pt x="1082612" y="1815318"/>
                </a:cubicBezTo>
                <a:cubicBezTo>
                  <a:pt x="798453" y="1916318"/>
                  <a:pt x="476406" y="2030805"/>
                  <a:pt x="197189" y="2194712"/>
                </a:cubicBezTo>
                <a:cubicBezTo>
                  <a:pt x="193639" y="2196811"/>
                  <a:pt x="192223" y="2201237"/>
                  <a:pt x="193894" y="2205007"/>
                </a:cubicBezTo>
                <a:cubicBezTo>
                  <a:pt x="195519" y="2209070"/>
                  <a:pt x="200097" y="2211084"/>
                  <a:pt x="204190" y="2209537"/>
                </a:cubicBezTo>
                <a:cubicBezTo>
                  <a:pt x="489482" y="2122334"/>
                  <a:pt x="762727" y="2008052"/>
                  <a:pt x="1027016" y="1897683"/>
                </a:cubicBezTo>
                <a:cubicBezTo>
                  <a:pt x="1152312" y="1845279"/>
                  <a:pt x="1281111" y="1791432"/>
                  <a:pt x="1411557" y="1740263"/>
                </a:cubicBezTo>
                <a:cubicBezTo>
                  <a:pt x="1287391" y="1812332"/>
                  <a:pt x="1135428" y="1885123"/>
                  <a:pt x="987687" y="1956472"/>
                </a:cubicBezTo>
                <a:cubicBezTo>
                  <a:pt x="792070" y="2050264"/>
                  <a:pt x="590482" y="2147249"/>
                  <a:pt x="450254" y="2242483"/>
                </a:cubicBezTo>
                <a:cubicBezTo>
                  <a:pt x="446551" y="2245023"/>
                  <a:pt x="445607" y="2250086"/>
                  <a:pt x="448146" y="2253790"/>
                </a:cubicBezTo>
                <a:cubicBezTo>
                  <a:pt x="450050" y="2256567"/>
                  <a:pt x="453467" y="2257883"/>
                  <a:pt x="456741" y="2257104"/>
                </a:cubicBezTo>
                <a:cubicBezTo>
                  <a:pt x="588731" y="2223951"/>
                  <a:pt x="755932" y="2127379"/>
                  <a:pt x="932605" y="2025349"/>
                </a:cubicBezTo>
                <a:cubicBezTo>
                  <a:pt x="1185054" y="1879563"/>
                  <a:pt x="1534897" y="1721834"/>
                  <a:pt x="1600482" y="1713804"/>
                </a:cubicBezTo>
                <a:cubicBezTo>
                  <a:pt x="1601098" y="1713804"/>
                  <a:pt x="1695407" y="1724100"/>
                  <a:pt x="1695921" y="1723584"/>
                </a:cubicBezTo>
                <a:cubicBezTo>
                  <a:pt x="1716513" y="1727600"/>
                  <a:pt x="1906055" y="1767237"/>
                  <a:pt x="1929426" y="1782887"/>
                </a:cubicBezTo>
                <a:cubicBezTo>
                  <a:pt x="1932927" y="1793182"/>
                  <a:pt x="1957636" y="1852589"/>
                  <a:pt x="1961960" y="1860001"/>
                </a:cubicBezTo>
                <a:cubicBezTo>
                  <a:pt x="1971741" y="1876268"/>
                  <a:pt x="1991612" y="1909626"/>
                  <a:pt x="2053901" y="2064163"/>
                </a:cubicBezTo>
                <a:cubicBezTo>
                  <a:pt x="2001495" y="2048926"/>
                  <a:pt x="1950944" y="2021540"/>
                  <a:pt x="1902658" y="1994873"/>
                </a:cubicBezTo>
                <a:cubicBezTo>
                  <a:pt x="1836251" y="1958531"/>
                  <a:pt x="1767579" y="1920950"/>
                  <a:pt x="1691700" y="1913127"/>
                </a:cubicBezTo>
                <a:cubicBezTo>
                  <a:pt x="1687235" y="1912635"/>
                  <a:pt x="1683217" y="1915856"/>
                  <a:pt x="1682726" y="1920321"/>
                </a:cubicBezTo>
                <a:cubicBezTo>
                  <a:pt x="1682416" y="1923136"/>
                  <a:pt x="1683592" y="1925910"/>
                  <a:pt x="1685832" y="1927644"/>
                </a:cubicBezTo>
                <a:cubicBezTo>
                  <a:pt x="1790375" y="2006216"/>
                  <a:pt x="1909724" y="2062844"/>
                  <a:pt x="2036707" y="2094124"/>
                </a:cubicBezTo>
                <a:cubicBezTo>
                  <a:pt x="1750591" y="2148382"/>
                  <a:pt x="1285127" y="2226010"/>
                  <a:pt x="1211101" y="2345543"/>
                </a:cubicBezTo>
                <a:cubicBezTo>
                  <a:pt x="1209263" y="2348559"/>
                  <a:pt x="1209553" y="2352410"/>
                  <a:pt x="1211822" y="2355118"/>
                </a:cubicBezTo>
                <a:cubicBezTo>
                  <a:pt x="1214148" y="2357784"/>
                  <a:pt x="1217903" y="2358691"/>
                  <a:pt x="1221191" y="2357382"/>
                </a:cubicBezTo>
                <a:cubicBezTo>
                  <a:pt x="1518117" y="2233835"/>
                  <a:pt x="1811438" y="2157545"/>
                  <a:pt x="2035059" y="2144675"/>
                </a:cubicBezTo>
                <a:cubicBezTo>
                  <a:pt x="1806187" y="2247632"/>
                  <a:pt x="1526661" y="2446852"/>
                  <a:pt x="1368521" y="2622289"/>
                </a:cubicBezTo>
                <a:cubicBezTo>
                  <a:pt x="1366584" y="2624440"/>
                  <a:pt x="1365921" y="2627450"/>
                  <a:pt x="1366771" y="2630216"/>
                </a:cubicBezTo>
                <a:cubicBezTo>
                  <a:pt x="1367615" y="2632951"/>
                  <a:pt x="1369850" y="2635030"/>
                  <a:pt x="1372639" y="2635673"/>
                </a:cubicBezTo>
                <a:cubicBezTo>
                  <a:pt x="1403526" y="2643189"/>
                  <a:pt x="1503805" y="2549808"/>
                  <a:pt x="1693862" y="2410611"/>
                </a:cubicBezTo>
                <a:cubicBezTo>
                  <a:pt x="1833677" y="2308272"/>
                  <a:pt x="2085096" y="2145911"/>
                  <a:pt x="2110731" y="2164443"/>
                </a:cubicBezTo>
                <a:cubicBezTo>
                  <a:pt x="2111485" y="2165931"/>
                  <a:pt x="2111485" y="2167690"/>
                  <a:pt x="2110731" y="2169178"/>
                </a:cubicBezTo>
                <a:cubicBezTo>
                  <a:pt x="2106717" y="2179474"/>
                  <a:pt x="2077478" y="2187813"/>
                  <a:pt x="2056165" y="2194094"/>
                </a:cubicBezTo>
                <a:cubicBezTo>
                  <a:pt x="2027028" y="2202742"/>
                  <a:pt x="2005717" y="2209022"/>
                  <a:pt x="2006334" y="2223951"/>
                </a:cubicBezTo>
                <a:cubicBezTo>
                  <a:pt x="2004912" y="2229003"/>
                  <a:pt x="2006153" y="2234432"/>
                  <a:pt x="2009628" y="2238365"/>
                </a:cubicBezTo>
                <a:cubicBezTo>
                  <a:pt x="2015497" y="2243925"/>
                  <a:pt x="2023425" y="2241968"/>
                  <a:pt x="2035574" y="2238879"/>
                </a:cubicBezTo>
                <a:cubicBezTo>
                  <a:pt x="2047123" y="2235709"/>
                  <a:pt x="2058947" y="2233640"/>
                  <a:pt x="2070888" y="2232702"/>
                </a:cubicBezTo>
                <a:cubicBezTo>
                  <a:pt x="2070276" y="2237910"/>
                  <a:pt x="2072422" y="2243060"/>
                  <a:pt x="2076550" y="2246292"/>
                </a:cubicBezTo>
                <a:cubicBezTo>
                  <a:pt x="2088288" y="2254838"/>
                  <a:pt x="2108467" y="2243101"/>
                  <a:pt x="2149340" y="2213758"/>
                </a:cubicBezTo>
                <a:cubicBezTo>
                  <a:pt x="2154693" y="2210053"/>
                  <a:pt x="2160460" y="2205830"/>
                  <a:pt x="2163651" y="2203463"/>
                </a:cubicBezTo>
                <a:cubicBezTo>
                  <a:pt x="2173947" y="2208920"/>
                  <a:pt x="2181463" y="2211906"/>
                  <a:pt x="2187125" y="2207170"/>
                </a:cubicBezTo>
                <a:cubicBezTo>
                  <a:pt x="2192788" y="2202433"/>
                  <a:pt x="2190729" y="2194711"/>
                  <a:pt x="2188052" y="2186579"/>
                </a:cubicBezTo>
                <a:cubicBezTo>
                  <a:pt x="2184757" y="2176283"/>
                  <a:pt x="2180227" y="2162898"/>
                  <a:pt x="2188052" y="2153529"/>
                </a:cubicBezTo>
                <a:cubicBezTo>
                  <a:pt x="2195876" y="2144161"/>
                  <a:pt x="2213996" y="2136541"/>
                  <a:pt x="2263210" y="2138600"/>
                </a:cubicBezTo>
                <a:cubicBezTo>
                  <a:pt x="2235823" y="2149514"/>
                  <a:pt x="2218527" y="2161869"/>
                  <a:pt x="2216056" y="2173194"/>
                </a:cubicBezTo>
                <a:cubicBezTo>
                  <a:pt x="2214878" y="2177980"/>
                  <a:pt x="2216610" y="2183014"/>
                  <a:pt x="2220483" y="2186063"/>
                </a:cubicBezTo>
                <a:cubicBezTo>
                  <a:pt x="2230058" y="2194094"/>
                  <a:pt x="2252400" y="2190491"/>
                  <a:pt x="2274227" y="2184211"/>
                </a:cubicBezTo>
                <a:cubicBezTo>
                  <a:pt x="2256002" y="2200684"/>
                  <a:pt x="2256724" y="2203772"/>
                  <a:pt x="2260430" y="2209022"/>
                </a:cubicBezTo>
                <a:cubicBezTo>
                  <a:pt x="2266608" y="2217671"/>
                  <a:pt x="2270726" y="2215200"/>
                  <a:pt x="2340735" y="2173708"/>
                </a:cubicBezTo>
                <a:cubicBezTo>
                  <a:pt x="2396024" y="2140969"/>
                  <a:pt x="2478697" y="2091962"/>
                  <a:pt x="2537382" y="2068076"/>
                </a:cubicBezTo>
                <a:cubicBezTo>
                  <a:pt x="2326220" y="2198006"/>
                  <a:pt x="1867447" y="2495859"/>
                  <a:pt x="1780037" y="2626407"/>
                </a:cubicBezTo>
                <a:cubicBezTo>
                  <a:pt x="1777885" y="2629630"/>
                  <a:pt x="1778271" y="2633916"/>
                  <a:pt x="1780964" y="2636703"/>
                </a:cubicBezTo>
                <a:cubicBezTo>
                  <a:pt x="1783742" y="2639390"/>
                  <a:pt x="1788003" y="2639817"/>
                  <a:pt x="1791259" y="2637732"/>
                </a:cubicBezTo>
                <a:cubicBezTo>
                  <a:pt x="1874859" y="2582342"/>
                  <a:pt x="1962784" y="2514185"/>
                  <a:pt x="2055958" y="2441189"/>
                </a:cubicBezTo>
                <a:cubicBezTo>
                  <a:pt x="2240457" y="2297050"/>
                  <a:pt x="2431132" y="2148999"/>
                  <a:pt x="2614290" y="2080842"/>
                </a:cubicBezTo>
                <a:cubicBezTo>
                  <a:pt x="2566828" y="2213758"/>
                  <a:pt x="2268976" y="2435732"/>
                  <a:pt x="2123087" y="2544145"/>
                </a:cubicBezTo>
                <a:cubicBezTo>
                  <a:pt x="2074183" y="2580591"/>
                  <a:pt x="2041854" y="2604683"/>
                  <a:pt x="2031662" y="2615287"/>
                </a:cubicBezTo>
                <a:cubicBezTo>
                  <a:pt x="2029471" y="2617556"/>
                  <a:pt x="2028789" y="2620886"/>
                  <a:pt x="2029911" y="2623833"/>
                </a:cubicBezTo>
                <a:cubicBezTo>
                  <a:pt x="2031050" y="2626805"/>
                  <a:pt x="2033836" y="2628824"/>
                  <a:pt x="2037015" y="2628981"/>
                </a:cubicBezTo>
                <a:lnTo>
                  <a:pt x="2038148" y="2628981"/>
                </a:lnTo>
                <a:cubicBezTo>
                  <a:pt x="2039077" y="2630122"/>
                  <a:pt x="2040281" y="2631009"/>
                  <a:pt x="2041649" y="2631555"/>
                </a:cubicBezTo>
                <a:cubicBezTo>
                  <a:pt x="2043687" y="2632425"/>
                  <a:pt x="2045992" y="2632425"/>
                  <a:pt x="2048031" y="2631555"/>
                </a:cubicBezTo>
                <a:cubicBezTo>
                  <a:pt x="2198657" y="2562573"/>
                  <a:pt x="2293376" y="2479180"/>
                  <a:pt x="2362460" y="2418332"/>
                </a:cubicBezTo>
                <a:cubicBezTo>
                  <a:pt x="2387169" y="2396609"/>
                  <a:pt x="2408069" y="2378180"/>
                  <a:pt x="2426705" y="2364692"/>
                </a:cubicBezTo>
                <a:cubicBezTo>
                  <a:pt x="2392625" y="2459412"/>
                  <a:pt x="2307687" y="2628157"/>
                  <a:pt x="2277418" y="2678914"/>
                </a:cubicBezTo>
                <a:cubicBezTo>
                  <a:pt x="2275274" y="2682862"/>
                  <a:pt x="2276737" y="2687801"/>
                  <a:pt x="2280684" y="2689944"/>
                </a:cubicBezTo>
                <a:cubicBezTo>
                  <a:pt x="2283528" y="2691488"/>
                  <a:pt x="2287015" y="2691199"/>
                  <a:pt x="2289567" y="2689211"/>
                </a:cubicBezTo>
                <a:cubicBezTo>
                  <a:pt x="2295436" y="2684268"/>
                  <a:pt x="2301407" y="2679429"/>
                  <a:pt x="2307173" y="2674487"/>
                </a:cubicBezTo>
                <a:cubicBezTo>
                  <a:pt x="2246634" y="2738115"/>
                  <a:pt x="2191449" y="2800815"/>
                  <a:pt x="2149238" y="2867325"/>
                </a:cubicBezTo>
                <a:cubicBezTo>
                  <a:pt x="2147150" y="2870631"/>
                  <a:pt x="2147713" y="2874956"/>
                  <a:pt x="2150575" y="2877621"/>
                </a:cubicBezTo>
                <a:cubicBezTo>
                  <a:pt x="2156584" y="2883742"/>
                  <a:pt x="2164982" y="2886905"/>
                  <a:pt x="2173535" y="2886269"/>
                </a:cubicBezTo>
                <a:cubicBezTo>
                  <a:pt x="2196906" y="2884313"/>
                  <a:pt x="2219660" y="2854661"/>
                  <a:pt x="2245605" y="2820273"/>
                </a:cubicBezTo>
                <a:cubicBezTo>
                  <a:pt x="2238740" y="2841895"/>
                  <a:pt x="2231637" y="2864338"/>
                  <a:pt x="2224293" y="2887607"/>
                </a:cubicBezTo>
                <a:cubicBezTo>
                  <a:pt x="2180124" y="3025671"/>
                  <a:pt x="2130088" y="3182164"/>
                  <a:pt x="2117425" y="3348748"/>
                </a:cubicBezTo>
                <a:cubicBezTo>
                  <a:pt x="2117127" y="3352845"/>
                  <a:pt x="2119894" y="3356534"/>
                  <a:pt x="2123910" y="3357396"/>
                </a:cubicBezTo>
                <a:lnTo>
                  <a:pt x="2126897" y="3357396"/>
                </a:lnTo>
                <a:cubicBezTo>
                  <a:pt x="2130398" y="3357399"/>
                  <a:pt x="2133509" y="3355159"/>
                  <a:pt x="2134618" y="3351836"/>
                </a:cubicBezTo>
                <a:cubicBezTo>
                  <a:pt x="2155209" y="3289342"/>
                  <a:pt x="2174770" y="3224170"/>
                  <a:pt x="2193405" y="3161161"/>
                </a:cubicBezTo>
                <a:cubicBezTo>
                  <a:pt x="2268255" y="2908198"/>
                  <a:pt x="2345575" y="2646380"/>
                  <a:pt x="2554885" y="2464972"/>
                </a:cubicBezTo>
                <a:cubicBezTo>
                  <a:pt x="2602554" y="2428525"/>
                  <a:pt x="2650531" y="2337923"/>
                  <a:pt x="2688728" y="2265236"/>
                </a:cubicBezTo>
                <a:lnTo>
                  <a:pt x="2691507" y="2259883"/>
                </a:lnTo>
                <a:cubicBezTo>
                  <a:pt x="2651972" y="2383018"/>
                  <a:pt x="2605642" y="2509243"/>
                  <a:pt x="2591228" y="2523245"/>
                </a:cubicBezTo>
                <a:cubicBezTo>
                  <a:pt x="2586814" y="2523679"/>
                  <a:pt x="2583588" y="2527609"/>
                  <a:pt x="2584022" y="2532023"/>
                </a:cubicBezTo>
                <a:cubicBezTo>
                  <a:pt x="2584298" y="2534820"/>
                  <a:pt x="2586016" y="2537271"/>
                  <a:pt x="2588551" y="2538483"/>
                </a:cubicBezTo>
                <a:cubicBezTo>
                  <a:pt x="2592518" y="2540402"/>
                  <a:pt x="2597146" y="2540402"/>
                  <a:pt x="2601112" y="2538482"/>
                </a:cubicBezTo>
                <a:cubicBezTo>
                  <a:pt x="2605496" y="2536358"/>
                  <a:pt x="2609388" y="2533343"/>
                  <a:pt x="2612540" y="2529629"/>
                </a:cubicBezTo>
                <a:cubicBezTo>
                  <a:pt x="2559415" y="2623833"/>
                  <a:pt x="2494861" y="2723289"/>
                  <a:pt x="2437000" y="2812346"/>
                </a:cubicBezTo>
                <a:cubicBezTo>
                  <a:pt x="2359268" y="2932084"/>
                  <a:pt x="2292140" y="3035349"/>
                  <a:pt x="2267226" y="3100109"/>
                </a:cubicBezTo>
                <a:cubicBezTo>
                  <a:pt x="2265595" y="3104295"/>
                  <a:pt x="2267669" y="3109009"/>
                  <a:pt x="2271855" y="3110639"/>
                </a:cubicBezTo>
                <a:cubicBezTo>
                  <a:pt x="2275390" y="3112015"/>
                  <a:pt x="2279407" y="3110764"/>
                  <a:pt x="2281537" y="3107624"/>
                </a:cubicBezTo>
                <a:cubicBezTo>
                  <a:pt x="2298832" y="3082812"/>
                  <a:pt x="2318910" y="3054705"/>
                  <a:pt x="2340839" y="3024023"/>
                </a:cubicBezTo>
                <a:cubicBezTo>
                  <a:pt x="2503098" y="2797006"/>
                  <a:pt x="2774490" y="2417200"/>
                  <a:pt x="2756781" y="2176591"/>
                </a:cubicBezTo>
                <a:cubicBezTo>
                  <a:pt x="2756820" y="2175906"/>
                  <a:pt x="2756820" y="2175218"/>
                  <a:pt x="2756782" y="2174532"/>
                </a:cubicBezTo>
                <a:cubicBezTo>
                  <a:pt x="2749780" y="2153941"/>
                  <a:pt x="2750501" y="2140453"/>
                  <a:pt x="2759047" y="2132217"/>
                </a:cubicBezTo>
                <a:cubicBezTo>
                  <a:pt x="2804038" y="2088153"/>
                  <a:pt x="3264870" y="2212935"/>
                  <a:pt x="3492712" y="2296948"/>
                </a:cubicBezTo>
                <a:cubicBezTo>
                  <a:pt x="3758648" y="2395065"/>
                  <a:pt x="3795403" y="2399904"/>
                  <a:pt x="3844205" y="2387754"/>
                </a:cubicBezTo>
                <a:cubicBezTo>
                  <a:pt x="3867781" y="2382092"/>
                  <a:pt x="3861398" y="2341424"/>
                  <a:pt x="3845336" y="2302713"/>
                </a:cubicBezTo>
                <a:cubicBezTo>
                  <a:pt x="3844719" y="2300705"/>
                  <a:pt x="3843194" y="2299104"/>
                  <a:pt x="3841218" y="2298388"/>
                </a:cubicBezTo>
                <a:cubicBezTo>
                  <a:pt x="3643646" y="2260810"/>
                  <a:pt x="3614716" y="2253500"/>
                  <a:pt x="3492299" y="2224878"/>
                </a:cubicBezTo>
                <a:cubicBezTo>
                  <a:pt x="3409421" y="2205522"/>
                  <a:pt x="3232748" y="2114921"/>
                  <a:pt x="3181784" y="2090520"/>
                </a:cubicBezTo>
                <a:cubicBezTo>
                  <a:pt x="3176740" y="2081666"/>
                  <a:pt x="3201244" y="2026791"/>
                  <a:pt x="3227086" y="1968620"/>
                </a:cubicBezTo>
                <a:cubicBezTo>
                  <a:pt x="3319128" y="1762193"/>
                  <a:pt x="3510524" y="1332659"/>
                  <a:pt x="3542337" y="671372"/>
                </a:cubicBezTo>
                <a:cubicBezTo>
                  <a:pt x="3542549" y="666885"/>
                  <a:pt x="3539083" y="663076"/>
                  <a:pt x="3534596" y="662864"/>
                </a:cubicBezTo>
                <a:cubicBezTo>
                  <a:pt x="3530649" y="662678"/>
                  <a:pt x="3527140" y="665355"/>
                  <a:pt x="3526276" y="669210"/>
                </a:cubicBezTo>
                <a:cubicBezTo>
                  <a:pt x="3505685" y="763930"/>
                  <a:pt x="3487462" y="854531"/>
                  <a:pt x="3469857" y="943073"/>
                </a:cubicBezTo>
                <a:cubicBezTo>
                  <a:pt x="3401801" y="1284476"/>
                  <a:pt x="3342911" y="1579342"/>
                  <a:pt x="3175710" y="1935469"/>
                </a:cubicBezTo>
                <a:cubicBezTo>
                  <a:pt x="3142867" y="1991065"/>
                  <a:pt x="3127733" y="2060560"/>
                  <a:pt x="3122379" y="2086196"/>
                </a:cubicBezTo>
                <a:cubicBezTo>
                  <a:pt x="3109818" y="2088872"/>
                  <a:pt x="3053707" y="2067561"/>
                  <a:pt x="3012422" y="2051911"/>
                </a:cubicBezTo>
                <a:cubicBezTo>
                  <a:pt x="2988743" y="2042954"/>
                  <a:pt x="2964547" y="2033792"/>
                  <a:pt x="2941692" y="2025966"/>
                </a:cubicBezTo>
                <a:cubicBezTo>
                  <a:pt x="3032396" y="1960898"/>
                  <a:pt x="3074917" y="1888828"/>
                  <a:pt x="3107348" y="1826849"/>
                </a:cubicBezTo>
                <a:cubicBezTo>
                  <a:pt x="3201244" y="1692389"/>
                  <a:pt x="3401082" y="1120570"/>
                  <a:pt x="3372357" y="1030483"/>
                </a:cubicBezTo>
                <a:cubicBezTo>
                  <a:pt x="3371201" y="1026955"/>
                  <a:pt x="3367828" y="1024636"/>
                  <a:pt x="3364120" y="1024820"/>
                </a:cubicBezTo>
                <a:cubicBezTo>
                  <a:pt x="3360433" y="1025025"/>
                  <a:pt x="3357347" y="1027689"/>
                  <a:pt x="3356604" y="1031307"/>
                </a:cubicBezTo>
                <a:cubicBezTo>
                  <a:pt x="3310789" y="1256781"/>
                  <a:pt x="3148530" y="1641426"/>
                  <a:pt x="3024365" y="1868958"/>
                </a:cubicBezTo>
                <a:cubicBezTo>
                  <a:pt x="2975667" y="1924863"/>
                  <a:pt x="2920275" y="1983446"/>
                  <a:pt x="2896390" y="2002184"/>
                </a:cubicBezTo>
                <a:lnTo>
                  <a:pt x="2896906" y="2001257"/>
                </a:lnTo>
                <a:cubicBezTo>
                  <a:pt x="3045265" y="1805641"/>
                  <a:pt x="3415907" y="861018"/>
                  <a:pt x="3435366" y="796669"/>
                </a:cubicBezTo>
                <a:cubicBezTo>
                  <a:pt x="3441029" y="777726"/>
                  <a:pt x="3444735" y="759194"/>
                  <a:pt x="3448235" y="741382"/>
                </a:cubicBezTo>
                <a:cubicBezTo>
                  <a:pt x="3453280" y="715129"/>
                  <a:pt x="3457810" y="692478"/>
                  <a:pt x="3467283" y="677549"/>
                </a:cubicBezTo>
                <a:cubicBezTo>
                  <a:pt x="3469796" y="673900"/>
                  <a:pt x="3468925" y="668911"/>
                  <a:pt x="3465326" y="666327"/>
                </a:cubicBezTo>
                <a:lnTo>
                  <a:pt x="3456575" y="659841"/>
                </a:lnTo>
                <a:cubicBezTo>
                  <a:pt x="3453114" y="657287"/>
                  <a:pt x="3448270" y="657825"/>
                  <a:pt x="3445456" y="661076"/>
                </a:cubicBezTo>
                <a:cubicBezTo>
                  <a:pt x="3410965" y="701538"/>
                  <a:pt x="3389138" y="762180"/>
                  <a:pt x="3368033" y="820968"/>
                </a:cubicBezTo>
                <a:lnTo>
                  <a:pt x="3363399" y="834043"/>
                </a:lnTo>
                <a:cubicBezTo>
                  <a:pt x="3273003" y="1092051"/>
                  <a:pt x="3044956" y="1711127"/>
                  <a:pt x="2859841" y="1951014"/>
                </a:cubicBezTo>
                <a:cubicBezTo>
                  <a:pt x="2858913" y="1948544"/>
                  <a:pt x="2857987" y="1946072"/>
                  <a:pt x="2857164" y="1943498"/>
                </a:cubicBezTo>
                <a:cubicBezTo>
                  <a:pt x="2859199" y="1943199"/>
                  <a:pt x="2861041" y="1942131"/>
                  <a:pt x="2862312" y="1940513"/>
                </a:cubicBezTo>
                <a:cubicBezTo>
                  <a:pt x="2920173" y="1865972"/>
                  <a:pt x="2945604" y="1778769"/>
                  <a:pt x="2970210" y="1694344"/>
                </a:cubicBezTo>
                <a:cubicBezTo>
                  <a:pt x="2998420" y="1597463"/>
                  <a:pt x="3025086" y="1505935"/>
                  <a:pt x="3097257" y="1436233"/>
                </a:cubicBezTo>
                <a:cubicBezTo>
                  <a:pt x="3099414" y="1434123"/>
                  <a:pt x="3100243" y="1431002"/>
                  <a:pt x="3099419" y="1428100"/>
                </a:cubicBezTo>
                <a:cubicBezTo>
                  <a:pt x="3098587" y="1425202"/>
                  <a:pt x="3096202" y="1423015"/>
                  <a:pt x="3093242" y="1422437"/>
                </a:cubicBezTo>
                <a:cubicBezTo>
                  <a:pt x="3083166" y="1419779"/>
                  <a:pt x="3072435" y="1421499"/>
                  <a:pt x="3063694" y="1427174"/>
                </a:cubicBezTo>
                <a:cubicBezTo>
                  <a:pt x="3055550" y="1433484"/>
                  <a:pt x="3049868" y="1442444"/>
                  <a:pt x="3047633" y="1452501"/>
                </a:cubicBezTo>
                <a:cubicBezTo>
                  <a:pt x="3045374" y="1452861"/>
                  <a:pt x="3043265" y="1453860"/>
                  <a:pt x="3041558" y="1455384"/>
                </a:cubicBezTo>
                <a:cubicBezTo>
                  <a:pt x="3041559" y="1454353"/>
                  <a:pt x="3041558" y="1453222"/>
                  <a:pt x="3041558" y="1452191"/>
                </a:cubicBezTo>
                <a:cubicBezTo>
                  <a:pt x="3040331" y="1444132"/>
                  <a:pt x="3035724" y="1436980"/>
                  <a:pt x="3028895" y="1432527"/>
                </a:cubicBezTo>
                <a:cubicBezTo>
                  <a:pt x="3025160" y="1430033"/>
                  <a:pt x="3020108" y="1431039"/>
                  <a:pt x="3017615" y="1434775"/>
                </a:cubicBezTo>
                <a:cubicBezTo>
                  <a:pt x="3016170" y="1436938"/>
                  <a:pt x="3015847" y="1439662"/>
                  <a:pt x="3016746" y="1442102"/>
                </a:cubicBezTo>
                <a:cubicBezTo>
                  <a:pt x="3021791" y="1456001"/>
                  <a:pt x="3013657" y="1466503"/>
                  <a:pt x="3000170" y="1482461"/>
                </a:cubicBezTo>
                <a:cubicBezTo>
                  <a:pt x="2996875" y="1486373"/>
                  <a:pt x="2993477" y="1490286"/>
                  <a:pt x="2990390" y="1494404"/>
                </a:cubicBezTo>
                <a:lnTo>
                  <a:pt x="3003259" y="1454045"/>
                </a:lnTo>
                <a:cubicBezTo>
                  <a:pt x="3020349" y="1400611"/>
                  <a:pt x="3041352" y="1334512"/>
                  <a:pt x="3046912" y="1323188"/>
                </a:cubicBezTo>
                <a:cubicBezTo>
                  <a:pt x="3048742" y="1321659"/>
                  <a:pt x="3049799" y="1319396"/>
                  <a:pt x="3049795" y="1317010"/>
                </a:cubicBezTo>
                <a:cubicBezTo>
                  <a:pt x="3051545" y="1309288"/>
                  <a:pt x="3072034" y="1267386"/>
                  <a:pt x="3093654" y="1223114"/>
                </a:cubicBezTo>
                <a:cubicBezTo>
                  <a:pt x="3137926" y="1132615"/>
                  <a:pt x="3204847" y="995890"/>
                  <a:pt x="3228732" y="917231"/>
                </a:cubicBezTo>
                <a:cubicBezTo>
                  <a:pt x="3229038" y="916050"/>
                  <a:pt x="3229038" y="914810"/>
                  <a:pt x="3228732" y="913628"/>
                </a:cubicBezTo>
                <a:cubicBezTo>
                  <a:pt x="3226982" y="902817"/>
                  <a:pt x="3221629" y="899832"/>
                  <a:pt x="3217511" y="899317"/>
                </a:cubicBezTo>
                <a:cubicBezTo>
                  <a:pt x="3201346" y="897258"/>
                  <a:pt x="3184771" y="928557"/>
                  <a:pt x="3127630" y="1053752"/>
                </a:cubicBezTo>
                <a:cubicBezTo>
                  <a:pt x="3098184" y="1118408"/>
                  <a:pt x="3067709" y="1185432"/>
                  <a:pt x="3045780" y="1218481"/>
                </a:cubicBezTo>
                <a:cubicBezTo>
                  <a:pt x="3045257" y="1219268"/>
                  <a:pt x="3044875" y="1220139"/>
                  <a:pt x="3044648" y="1221055"/>
                </a:cubicBezTo>
                <a:cubicBezTo>
                  <a:pt x="3020768" y="1270099"/>
                  <a:pt x="2993416" y="1317373"/>
                  <a:pt x="2962797" y="1362518"/>
                </a:cubicBezTo>
                <a:cubicBezTo>
                  <a:pt x="3060708" y="1172048"/>
                  <a:pt x="3125674" y="890155"/>
                  <a:pt x="3138647" y="592920"/>
                </a:cubicBezTo>
                <a:cubicBezTo>
                  <a:pt x="3138767" y="588817"/>
                  <a:pt x="3135885" y="585236"/>
                  <a:pt x="3131851" y="584477"/>
                </a:cubicBezTo>
                <a:cubicBezTo>
                  <a:pt x="3127804" y="583782"/>
                  <a:pt x="3123876" y="586210"/>
                  <a:pt x="3122688" y="590139"/>
                </a:cubicBezTo>
                <a:cubicBezTo>
                  <a:pt x="3095199" y="680843"/>
                  <a:pt x="3080168" y="781638"/>
                  <a:pt x="3064312" y="888713"/>
                </a:cubicBezTo>
                <a:cubicBezTo>
                  <a:pt x="3035793" y="1080005"/>
                  <a:pt x="3006348" y="1277373"/>
                  <a:pt x="2900096" y="1408642"/>
                </a:cubicBezTo>
                <a:cubicBezTo>
                  <a:pt x="2961151" y="1147339"/>
                  <a:pt x="2980917" y="888095"/>
                  <a:pt x="3000170" y="578814"/>
                </a:cubicBezTo>
                <a:cubicBezTo>
                  <a:pt x="3000271" y="577891"/>
                  <a:pt x="3000271" y="576958"/>
                  <a:pt x="3000170" y="576035"/>
                </a:cubicBezTo>
                <a:cubicBezTo>
                  <a:pt x="2999140" y="572637"/>
                  <a:pt x="2995846" y="562238"/>
                  <a:pt x="2987198" y="563062"/>
                </a:cubicBezTo>
                <a:cubicBezTo>
                  <a:pt x="2973299" y="564401"/>
                  <a:pt x="2969180" y="582932"/>
                  <a:pt x="2948794" y="812010"/>
                </a:cubicBezTo>
                <a:cubicBezTo>
                  <a:pt x="2934587" y="972622"/>
                  <a:pt x="2907612" y="1271607"/>
                  <a:pt x="2877961" y="1278092"/>
                </a:cubicBezTo>
                <a:cubicBezTo>
                  <a:pt x="2876005" y="1278092"/>
                  <a:pt x="2858194" y="1270474"/>
                  <a:pt x="2831528" y="1118923"/>
                </a:cubicBezTo>
                <a:cubicBezTo>
                  <a:pt x="2831139" y="1116571"/>
                  <a:pt x="2829699" y="1114523"/>
                  <a:pt x="2827615" y="1113364"/>
                </a:cubicBezTo>
                <a:cubicBezTo>
                  <a:pt x="2815467" y="1106259"/>
                  <a:pt x="2818555" y="1073827"/>
                  <a:pt x="2821438" y="1042528"/>
                </a:cubicBezTo>
                <a:cubicBezTo>
                  <a:pt x="2825968" y="993419"/>
                  <a:pt x="2831116" y="937926"/>
                  <a:pt x="2789934" y="918981"/>
                </a:cubicBezTo>
                <a:cubicBezTo>
                  <a:pt x="2787662" y="917859"/>
                  <a:pt x="2784998" y="917859"/>
                  <a:pt x="2782726" y="918981"/>
                </a:cubicBezTo>
                <a:cubicBezTo>
                  <a:pt x="2773255" y="924232"/>
                  <a:pt x="2768828" y="924232"/>
                  <a:pt x="2767798" y="923511"/>
                </a:cubicBezTo>
                <a:cubicBezTo>
                  <a:pt x="2762650" y="920011"/>
                  <a:pt x="2765637" y="894581"/>
                  <a:pt x="2767798" y="879343"/>
                </a:cubicBezTo>
                <a:cubicBezTo>
                  <a:pt x="2771082" y="862157"/>
                  <a:pt x="2771360" y="844530"/>
                  <a:pt x="2768622" y="827248"/>
                </a:cubicBezTo>
                <a:cubicBezTo>
                  <a:pt x="2767634" y="823469"/>
                  <a:pt x="2764071" y="820948"/>
                  <a:pt x="2760179" y="821276"/>
                </a:cubicBezTo>
                <a:cubicBezTo>
                  <a:pt x="2737426" y="822821"/>
                  <a:pt x="2735366" y="814275"/>
                  <a:pt x="2732381" y="789256"/>
                </a:cubicBezTo>
                <a:cubicBezTo>
                  <a:pt x="2732056" y="786349"/>
                  <a:pt x="2730158" y="783855"/>
                  <a:pt x="2727439" y="782771"/>
                </a:cubicBezTo>
                <a:cubicBezTo>
                  <a:pt x="2724786" y="781545"/>
                  <a:pt x="2721666" y="781945"/>
                  <a:pt x="2719409" y="783800"/>
                </a:cubicBezTo>
                <a:cubicBezTo>
                  <a:pt x="2650531" y="836925"/>
                  <a:pt x="2640132" y="902612"/>
                  <a:pt x="2690170" y="968606"/>
                </a:cubicBezTo>
                <a:cubicBezTo>
                  <a:pt x="2691274" y="970110"/>
                  <a:pt x="2692881" y="971170"/>
                  <a:pt x="2694700" y="971592"/>
                </a:cubicBezTo>
                <a:cubicBezTo>
                  <a:pt x="2698042" y="972563"/>
                  <a:pt x="2701561" y="972773"/>
                  <a:pt x="2704995" y="972210"/>
                </a:cubicBezTo>
                <a:cubicBezTo>
                  <a:pt x="2701180" y="1010683"/>
                  <a:pt x="2691854" y="1048408"/>
                  <a:pt x="2677299" y="1084226"/>
                </a:cubicBezTo>
                <a:cubicBezTo>
                  <a:pt x="2651355" y="1054059"/>
                  <a:pt x="2654753" y="1014216"/>
                  <a:pt x="2658252" y="972107"/>
                </a:cubicBezTo>
                <a:cubicBezTo>
                  <a:pt x="2660930" y="941220"/>
                  <a:pt x="2663607" y="909303"/>
                  <a:pt x="2652899" y="882328"/>
                </a:cubicBezTo>
                <a:cubicBezTo>
                  <a:pt x="2654668" y="880889"/>
                  <a:pt x="2656166" y="879146"/>
                  <a:pt x="2657326" y="877181"/>
                </a:cubicBezTo>
                <a:cubicBezTo>
                  <a:pt x="2662577" y="867607"/>
                  <a:pt x="2658871" y="855767"/>
                  <a:pt x="2654855" y="843205"/>
                </a:cubicBezTo>
                <a:cubicBezTo>
                  <a:pt x="2653302" y="838741"/>
                  <a:pt x="2652097" y="834164"/>
                  <a:pt x="2651251" y="829513"/>
                </a:cubicBezTo>
                <a:lnTo>
                  <a:pt x="2651252" y="824261"/>
                </a:lnTo>
                <a:cubicBezTo>
                  <a:pt x="2651374" y="819922"/>
                  <a:pt x="2648065" y="816251"/>
                  <a:pt x="2643736" y="815922"/>
                </a:cubicBezTo>
                <a:lnTo>
                  <a:pt x="2638588" y="815923"/>
                </a:lnTo>
                <a:cubicBezTo>
                  <a:pt x="2616967" y="814275"/>
                  <a:pt x="2611099" y="827762"/>
                  <a:pt x="2609864" y="831983"/>
                </a:cubicBezTo>
                <a:cubicBezTo>
                  <a:pt x="2605230" y="846912"/>
                  <a:pt x="2616246" y="865960"/>
                  <a:pt x="2625616" y="876358"/>
                </a:cubicBezTo>
                <a:cubicBezTo>
                  <a:pt x="2625616" y="890155"/>
                  <a:pt x="2625616" y="902715"/>
                  <a:pt x="2625616" y="914863"/>
                </a:cubicBezTo>
                <a:cubicBezTo>
                  <a:pt x="2626848" y="932018"/>
                  <a:pt x="2626503" y="949250"/>
                  <a:pt x="2624586" y="966341"/>
                </a:cubicBezTo>
                <a:cubicBezTo>
                  <a:pt x="2615418" y="985628"/>
                  <a:pt x="2610804" y="1006763"/>
                  <a:pt x="2611099" y="1028115"/>
                </a:cubicBezTo>
                <a:cubicBezTo>
                  <a:pt x="2609967" y="1053545"/>
                  <a:pt x="2609452" y="1066414"/>
                  <a:pt x="2581962" y="1072901"/>
                </a:cubicBezTo>
                <a:cubicBezTo>
                  <a:pt x="2579733" y="1073459"/>
                  <a:pt x="2577834" y="1074911"/>
                  <a:pt x="2576712" y="1076917"/>
                </a:cubicBezTo>
                <a:cubicBezTo>
                  <a:pt x="2552517" y="1120982"/>
                  <a:pt x="2553341" y="1163297"/>
                  <a:pt x="2554164" y="1204068"/>
                </a:cubicBezTo>
                <a:cubicBezTo>
                  <a:pt x="2554987" y="1242984"/>
                  <a:pt x="2555709" y="1279843"/>
                  <a:pt x="2534705" y="1315981"/>
                </a:cubicBezTo>
                <a:cubicBezTo>
                  <a:pt x="2459753" y="1149397"/>
                  <a:pt x="2395920" y="752708"/>
                  <a:pt x="2370696" y="520747"/>
                </a:cubicBezTo>
                <a:cubicBezTo>
                  <a:pt x="2370290" y="517100"/>
                  <a:pt x="2367518" y="514160"/>
                  <a:pt x="2363900" y="513540"/>
                </a:cubicBezTo>
                <a:cubicBezTo>
                  <a:pt x="2359031" y="512694"/>
                  <a:pt x="2354058" y="514313"/>
                  <a:pt x="2350619" y="517864"/>
                </a:cubicBezTo>
                <a:cubicBezTo>
                  <a:pt x="2330029" y="538455"/>
                  <a:pt x="2345575" y="639354"/>
                  <a:pt x="2382330" y="849177"/>
                </a:cubicBezTo>
                <a:cubicBezTo>
                  <a:pt x="2402921" y="966753"/>
                  <a:pt x="2424131" y="1088036"/>
                  <a:pt x="2423512" y="1145382"/>
                </a:cubicBezTo>
                <a:cubicBezTo>
                  <a:pt x="2387890" y="1126541"/>
                  <a:pt x="2381404" y="1096169"/>
                  <a:pt x="2375535" y="1069092"/>
                </a:cubicBezTo>
                <a:cubicBezTo>
                  <a:pt x="2371726" y="1051383"/>
                  <a:pt x="2368123" y="1034601"/>
                  <a:pt x="2355973" y="1025232"/>
                </a:cubicBezTo>
                <a:lnTo>
                  <a:pt x="2319116" y="965106"/>
                </a:lnTo>
                <a:cubicBezTo>
                  <a:pt x="2284007" y="876563"/>
                  <a:pt x="2273917" y="806862"/>
                  <a:pt x="2263210" y="733043"/>
                </a:cubicBezTo>
                <a:cubicBezTo>
                  <a:pt x="2257444" y="693199"/>
                  <a:pt x="2251472" y="651913"/>
                  <a:pt x="2241280" y="605789"/>
                </a:cubicBezTo>
                <a:cubicBezTo>
                  <a:pt x="2240732" y="603089"/>
                  <a:pt x="2238822" y="600868"/>
                  <a:pt x="2236235" y="599921"/>
                </a:cubicBezTo>
                <a:cubicBezTo>
                  <a:pt x="2233656" y="598909"/>
                  <a:pt x="2230738" y="599298"/>
                  <a:pt x="2228514" y="600950"/>
                </a:cubicBezTo>
                <a:cubicBezTo>
                  <a:pt x="2199994" y="622262"/>
                  <a:pt x="2216777" y="692787"/>
                  <a:pt x="2234485" y="767430"/>
                </a:cubicBezTo>
                <a:cubicBezTo>
                  <a:pt x="2239530" y="788844"/>
                  <a:pt x="2244781" y="809642"/>
                  <a:pt x="2247766" y="827351"/>
                </a:cubicBezTo>
                <a:cubicBezTo>
                  <a:pt x="2234794" y="801406"/>
                  <a:pt x="2221822" y="768562"/>
                  <a:pt x="2208335" y="734690"/>
                </a:cubicBezTo>
                <a:cubicBezTo>
                  <a:pt x="2182595" y="669519"/>
                  <a:pt x="2155929" y="602083"/>
                  <a:pt x="2124631" y="571710"/>
                </a:cubicBezTo>
                <a:cubicBezTo>
                  <a:pt x="2121914" y="568914"/>
                  <a:pt x="2117595" y="568439"/>
                  <a:pt x="2114335" y="570577"/>
                </a:cubicBezTo>
                <a:cubicBezTo>
                  <a:pt x="2111181" y="572595"/>
                  <a:pt x="2109786" y="576488"/>
                  <a:pt x="2110938" y="580049"/>
                </a:cubicBezTo>
                <a:cubicBezTo>
                  <a:pt x="2196185" y="838161"/>
                  <a:pt x="2318807" y="1087829"/>
                  <a:pt x="2437412" y="1329365"/>
                </a:cubicBezTo>
                <a:cubicBezTo>
                  <a:pt x="2472623" y="1401434"/>
                  <a:pt x="2508863" y="1474842"/>
                  <a:pt x="2543046" y="1546911"/>
                </a:cubicBezTo>
                <a:cubicBezTo>
                  <a:pt x="2487964" y="1496566"/>
                  <a:pt x="2421660" y="1382181"/>
                  <a:pt x="2371417" y="1295698"/>
                </a:cubicBezTo>
                <a:cubicBezTo>
                  <a:pt x="2311187" y="1191816"/>
                  <a:pt x="2295538" y="1167930"/>
                  <a:pt x="2280198" y="1172151"/>
                </a:cubicBezTo>
                <a:cubicBezTo>
                  <a:pt x="2270520" y="1174519"/>
                  <a:pt x="2269902" y="1186667"/>
                  <a:pt x="2269903" y="1190683"/>
                </a:cubicBezTo>
                <a:cubicBezTo>
                  <a:pt x="2269915" y="1191843"/>
                  <a:pt x="2270125" y="1192990"/>
                  <a:pt x="2270520" y="1194080"/>
                </a:cubicBezTo>
                <a:cubicBezTo>
                  <a:pt x="2294920" y="1249636"/>
                  <a:pt x="2322879" y="1303561"/>
                  <a:pt x="2354223" y="1355515"/>
                </a:cubicBezTo>
                <a:cubicBezTo>
                  <a:pt x="2369254" y="1381872"/>
                  <a:pt x="2383565" y="1406994"/>
                  <a:pt x="2396641" y="1431498"/>
                </a:cubicBezTo>
                <a:cubicBezTo>
                  <a:pt x="2330235" y="1390315"/>
                  <a:pt x="2276594" y="1308671"/>
                  <a:pt x="2224498" y="1229806"/>
                </a:cubicBezTo>
                <a:cubicBezTo>
                  <a:pt x="2201082" y="1192781"/>
                  <a:pt x="2175790" y="1156974"/>
                  <a:pt x="2148723" y="1122527"/>
                </a:cubicBezTo>
                <a:cubicBezTo>
                  <a:pt x="2147149" y="1120453"/>
                  <a:pt x="2144625" y="1119327"/>
                  <a:pt x="2142031" y="1119541"/>
                </a:cubicBezTo>
                <a:cubicBezTo>
                  <a:pt x="2139493" y="1119620"/>
                  <a:pt x="2137152" y="1120924"/>
                  <a:pt x="2135751" y="1123041"/>
                </a:cubicBezTo>
                <a:cubicBezTo>
                  <a:pt x="2124014" y="1140028"/>
                  <a:pt x="2185273" y="1245971"/>
                  <a:pt x="2214512" y="1294153"/>
                </a:cubicBezTo>
                <a:cubicBezTo>
                  <a:pt x="2193096" y="1277475"/>
                  <a:pt x="2154694" y="1239175"/>
                  <a:pt x="2093436" y="1162164"/>
                </a:cubicBezTo>
                <a:cubicBezTo>
                  <a:pt x="2028264" y="1079799"/>
                  <a:pt x="1975757" y="1002067"/>
                  <a:pt x="1972256" y="987139"/>
                </a:cubicBezTo>
                <a:cubicBezTo>
                  <a:pt x="1971533" y="983788"/>
                  <a:pt x="1968762" y="981265"/>
                  <a:pt x="1965359" y="980859"/>
                </a:cubicBezTo>
                <a:cubicBezTo>
                  <a:pt x="1962006" y="980444"/>
                  <a:pt x="1958742" y="982117"/>
                  <a:pt x="1957122" y="985080"/>
                </a:cubicBezTo>
                <a:cubicBezTo>
                  <a:pt x="1925204" y="1045103"/>
                  <a:pt x="2029191" y="1153207"/>
                  <a:pt x="2129985" y="1257707"/>
                </a:cubicBezTo>
                <a:cubicBezTo>
                  <a:pt x="2197524" y="1327820"/>
                  <a:pt x="2267328" y="1400302"/>
                  <a:pt x="2261254" y="1428100"/>
                </a:cubicBezTo>
                <a:cubicBezTo>
                  <a:pt x="2260562" y="1431504"/>
                  <a:pt x="2258200" y="1434331"/>
                  <a:pt x="2254974" y="1435616"/>
                </a:cubicBezTo>
                <a:cubicBezTo>
                  <a:pt x="2205966" y="1414098"/>
                  <a:pt x="2109188" y="1325247"/>
                  <a:pt x="2023528" y="1246588"/>
                </a:cubicBezTo>
                <a:cubicBezTo>
                  <a:pt x="1958665" y="1186977"/>
                  <a:pt x="1897303" y="1130660"/>
                  <a:pt x="1858799" y="1105126"/>
                </a:cubicBezTo>
                <a:cubicBezTo>
                  <a:pt x="1855646" y="1102892"/>
                  <a:pt x="1851365" y="1103149"/>
                  <a:pt x="1848502" y="1105744"/>
                </a:cubicBezTo>
                <a:cubicBezTo>
                  <a:pt x="1845674" y="1108113"/>
                  <a:pt x="1844825" y="1112106"/>
                  <a:pt x="1846444" y="1115421"/>
                </a:cubicBezTo>
                <a:cubicBezTo>
                  <a:pt x="1874448" y="1175033"/>
                  <a:pt x="1966387" y="1245867"/>
                  <a:pt x="2055239" y="1314334"/>
                </a:cubicBezTo>
                <a:cubicBezTo>
                  <a:pt x="2127308" y="1369621"/>
                  <a:pt x="2194641" y="1421716"/>
                  <a:pt x="2219350" y="1461046"/>
                </a:cubicBezTo>
                <a:cubicBezTo>
                  <a:pt x="2229646" y="1477828"/>
                  <a:pt x="2218526" y="1535175"/>
                  <a:pt x="2204216" y="1607861"/>
                </a:cubicBezTo>
                <a:cubicBezTo>
                  <a:pt x="2201848" y="1620011"/>
                  <a:pt x="2199275" y="1632777"/>
                  <a:pt x="2196700" y="1646161"/>
                </a:cubicBezTo>
                <a:cubicBezTo>
                  <a:pt x="2193817" y="1651514"/>
                  <a:pt x="2194023" y="1662737"/>
                  <a:pt x="2195671" y="1694653"/>
                </a:cubicBezTo>
                <a:cubicBezTo>
                  <a:pt x="2196906" y="1718951"/>
                  <a:pt x="2199377" y="1768370"/>
                  <a:pt x="2193405" y="1778769"/>
                </a:cubicBezTo>
                <a:cubicBezTo>
                  <a:pt x="2152223" y="1790094"/>
                  <a:pt x="2013130" y="1738204"/>
                  <a:pt x="1978330" y="1739440"/>
                </a:cubicBezTo>
                <a:cubicBezTo>
                  <a:pt x="1943325" y="1733880"/>
                  <a:pt x="1942501" y="1642866"/>
                  <a:pt x="1942398" y="1613112"/>
                </a:cubicBezTo>
                <a:cubicBezTo>
                  <a:pt x="1942431" y="1610169"/>
                  <a:pt x="1940851" y="1607443"/>
                  <a:pt x="1938281" y="1606008"/>
                </a:cubicBezTo>
                <a:cubicBezTo>
                  <a:pt x="1935776" y="1604511"/>
                  <a:pt x="1932651" y="1604512"/>
                  <a:pt x="1930147" y="1606008"/>
                </a:cubicBezTo>
                <a:cubicBezTo>
                  <a:pt x="1901628" y="1622790"/>
                  <a:pt x="1901525" y="1652132"/>
                  <a:pt x="1906982" y="1678078"/>
                </a:cubicBezTo>
                <a:cubicBezTo>
                  <a:pt x="1874144" y="1656012"/>
                  <a:pt x="1838872" y="1637806"/>
                  <a:pt x="1801864" y="1623820"/>
                </a:cubicBezTo>
                <a:lnTo>
                  <a:pt x="1792289" y="1629071"/>
                </a:lnTo>
                <a:cubicBezTo>
                  <a:pt x="1797436" y="1647603"/>
                  <a:pt x="1877742" y="1685285"/>
                  <a:pt x="1915836" y="1702375"/>
                </a:cubicBezTo>
                <a:cubicBezTo>
                  <a:pt x="1915164" y="1704168"/>
                  <a:pt x="1915164" y="1706143"/>
                  <a:pt x="1915836" y="1707935"/>
                </a:cubicBezTo>
                <a:lnTo>
                  <a:pt x="1841296" y="1679519"/>
                </a:lnTo>
                <a:cubicBezTo>
                  <a:pt x="1845825" y="1693521"/>
                  <a:pt x="1876712" y="1700831"/>
                  <a:pt x="1878669" y="1712259"/>
                </a:cubicBezTo>
                <a:cubicBezTo>
                  <a:pt x="1817410" y="1699493"/>
                  <a:pt x="1837487" y="1701963"/>
                  <a:pt x="1832647" y="1696403"/>
                </a:cubicBezTo>
                <a:cubicBezTo>
                  <a:pt x="1830176" y="1665517"/>
                  <a:pt x="1798466" y="1698978"/>
                  <a:pt x="1796716" y="1697845"/>
                </a:cubicBezTo>
                <a:cubicBezTo>
                  <a:pt x="1773858" y="1682504"/>
                  <a:pt x="1748841" y="1692904"/>
                  <a:pt x="1739267" y="1690741"/>
                </a:cubicBezTo>
                <a:cubicBezTo>
                  <a:pt x="1732368" y="1689093"/>
                  <a:pt x="1723102" y="1707626"/>
                  <a:pt x="1681919" y="1690740"/>
                </a:cubicBezTo>
                <a:cubicBezTo>
                  <a:pt x="1638575" y="1681887"/>
                  <a:pt x="1671623" y="1661296"/>
                  <a:pt x="1666786" y="1654604"/>
                </a:cubicBezTo>
                <a:lnTo>
                  <a:pt x="1665858" y="1653368"/>
                </a:lnTo>
                <a:cubicBezTo>
                  <a:pt x="1675238" y="1644133"/>
                  <a:pt x="1679638" y="1630971"/>
                  <a:pt x="1677698" y="1617952"/>
                </a:cubicBezTo>
                <a:cubicBezTo>
                  <a:pt x="1674404" y="1601272"/>
                  <a:pt x="1658446" y="1586446"/>
                  <a:pt x="1633942" y="1576769"/>
                </a:cubicBezTo>
                <a:cubicBezTo>
                  <a:pt x="1632575" y="1575637"/>
                  <a:pt x="1631270" y="1574434"/>
                  <a:pt x="1630029" y="1573165"/>
                </a:cubicBezTo>
                <a:cubicBezTo>
                  <a:pt x="1638974" y="1574993"/>
                  <a:pt x="1647495" y="1578485"/>
                  <a:pt x="1655151" y="1583461"/>
                </a:cubicBezTo>
                <a:cubicBezTo>
                  <a:pt x="1671496" y="1592815"/>
                  <a:pt x="1682820" y="1608970"/>
                  <a:pt x="1686037" y="1627526"/>
                </a:cubicBezTo>
                <a:cubicBezTo>
                  <a:pt x="1686259" y="1630101"/>
                  <a:pt x="1687771" y="1632388"/>
                  <a:pt x="1690053" y="1633601"/>
                </a:cubicBezTo>
                <a:cubicBezTo>
                  <a:pt x="1692344" y="1634791"/>
                  <a:pt x="1695072" y="1634791"/>
                  <a:pt x="1697363" y="1633601"/>
                </a:cubicBezTo>
                <a:cubicBezTo>
                  <a:pt x="1705115" y="1630948"/>
                  <a:pt x="1713646" y="1631892"/>
                  <a:pt x="1720631" y="1636174"/>
                </a:cubicBezTo>
                <a:cubicBezTo>
                  <a:pt x="1735654" y="1643972"/>
                  <a:pt x="1746820" y="1657594"/>
                  <a:pt x="1751518" y="1673856"/>
                </a:cubicBezTo>
                <a:cubicBezTo>
                  <a:pt x="1752302" y="1678001"/>
                  <a:pt x="1756193" y="1680806"/>
                  <a:pt x="1760372" y="1680239"/>
                </a:cubicBezTo>
                <a:cubicBezTo>
                  <a:pt x="1764483" y="1679816"/>
                  <a:pt x="1767600" y="1676341"/>
                  <a:pt x="1767579" y="1672209"/>
                </a:cubicBezTo>
                <a:cubicBezTo>
                  <a:pt x="1767579" y="1255030"/>
                  <a:pt x="1788170" y="616187"/>
                  <a:pt x="1828528" y="254193"/>
                </a:cubicBezTo>
                <a:cubicBezTo>
                  <a:pt x="1828878" y="252878"/>
                  <a:pt x="1828878" y="251494"/>
                  <a:pt x="1828529" y="250178"/>
                </a:cubicBezTo>
                <a:cubicBezTo>
                  <a:pt x="1826984" y="245880"/>
                  <a:pt x="1822792" y="243114"/>
                  <a:pt x="1818234" y="243383"/>
                </a:cubicBezTo>
                <a:cubicBezTo>
                  <a:pt x="1802481" y="245340"/>
                  <a:pt x="1790745" y="302583"/>
                  <a:pt x="1720116" y="823644"/>
                </a:cubicBezTo>
                <a:cubicBezTo>
                  <a:pt x="1699525" y="975917"/>
                  <a:pt x="1679655" y="1121496"/>
                  <a:pt x="1666682" y="1199434"/>
                </a:cubicBezTo>
                <a:cubicBezTo>
                  <a:pt x="1649077" y="1040985"/>
                  <a:pt x="1671006" y="847324"/>
                  <a:pt x="1692318" y="659532"/>
                </a:cubicBezTo>
                <a:cubicBezTo>
                  <a:pt x="1717440" y="438382"/>
                  <a:pt x="1743281" y="209819"/>
                  <a:pt x="1705085" y="36647"/>
                </a:cubicBezTo>
                <a:cubicBezTo>
                  <a:pt x="1704057" y="32274"/>
                  <a:pt x="1699679" y="29562"/>
                  <a:pt x="1695307" y="30589"/>
                </a:cubicBezTo>
                <a:cubicBezTo>
                  <a:pt x="1691176" y="31560"/>
                  <a:pt x="1688486" y="35541"/>
                  <a:pt x="1689127" y="39735"/>
                </a:cubicBezTo>
                <a:cubicBezTo>
                  <a:pt x="1699422" y="100480"/>
                  <a:pt x="1677904" y="285183"/>
                  <a:pt x="1657519" y="463915"/>
                </a:cubicBezTo>
                <a:cubicBezTo>
                  <a:pt x="1641046" y="607230"/>
                  <a:pt x="1625499" y="742720"/>
                  <a:pt x="1626632" y="811496"/>
                </a:cubicBezTo>
                <a:cubicBezTo>
                  <a:pt x="1626734" y="814939"/>
                  <a:pt x="1628942" y="817967"/>
                  <a:pt x="1632192" y="819114"/>
                </a:cubicBezTo>
                <a:cubicBezTo>
                  <a:pt x="1633276" y="819365"/>
                  <a:pt x="1634403" y="819365"/>
                  <a:pt x="1635486" y="819114"/>
                </a:cubicBezTo>
                <a:cubicBezTo>
                  <a:pt x="1633736" y="828277"/>
                  <a:pt x="1631883" y="836925"/>
                  <a:pt x="1630133" y="844957"/>
                </a:cubicBezTo>
                <a:cubicBezTo>
                  <a:pt x="1605217" y="731705"/>
                  <a:pt x="1614175" y="598788"/>
                  <a:pt x="1622823" y="469475"/>
                </a:cubicBezTo>
                <a:cubicBezTo>
                  <a:pt x="1632295" y="326365"/>
                  <a:pt x="1642178" y="178418"/>
                  <a:pt x="1607071" y="55179"/>
                </a:cubicBezTo>
                <a:cubicBezTo>
                  <a:pt x="1605932" y="51475"/>
                  <a:pt x="1602392" y="49044"/>
                  <a:pt x="1598525" y="49311"/>
                </a:cubicBezTo>
                <a:cubicBezTo>
                  <a:pt x="1594614" y="49640"/>
                  <a:pt x="1591496" y="52715"/>
                  <a:pt x="1591113" y="56620"/>
                </a:cubicBezTo>
                <a:cubicBezTo>
                  <a:pt x="1582052" y="143515"/>
                  <a:pt x="1581640" y="238853"/>
                  <a:pt x="1581331" y="331102"/>
                </a:cubicBezTo>
                <a:cubicBezTo>
                  <a:pt x="1581332" y="388139"/>
                  <a:pt x="1581332" y="446515"/>
                  <a:pt x="1578552" y="503142"/>
                </a:cubicBezTo>
                <a:cubicBezTo>
                  <a:pt x="1574742" y="431072"/>
                  <a:pt x="1574640" y="342118"/>
                  <a:pt x="1574433" y="255120"/>
                </a:cubicBezTo>
                <a:cubicBezTo>
                  <a:pt x="1574433" y="160606"/>
                  <a:pt x="1574433" y="71241"/>
                  <a:pt x="1569388" y="7305"/>
                </a:cubicBezTo>
                <a:cubicBezTo>
                  <a:pt x="1568930" y="2837"/>
                  <a:pt x="1564936" y="-415"/>
                  <a:pt x="1560468" y="42"/>
                </a:cubicBezTo>
                <a:cubicBezTo>
                  <a:pt x="1557096" y="388"/>
                  <a:pt x="1554290" y="2790"/>
                  <a:pt x="1553430" y="6070"/>
                </a:cubicBezTo>
                <a:cubicBezTo>
                  <a:pt x="1512866" y="178727"/>
                  <a:pt x="1498143" y="395552"/>
                  <a:pt x="1510806" y="604554"/>
                </a:cubicBezTo>
                <a:cubicBezTo>
                  <a:pt x="1503216" y="493967"/>
                  <a:pt x="1488914" y="383945"/>
                  <a:pt x="1467977" y="275094"/>
                </a:cubicBezTo>
                <a:cubicBezTo>
                  <a:pt x="1467202" y="271067"/>
                  <a:pt x="1463519" y="268271"/>
                  <a:pt x="1459431" y="268607"/>
                </a:cubicBezTo>
                <a:cubicBezTo>
                  <a:pt x="1455356" y="268958"/>
                  <a:pt x="1452155" y="272247"/>
                  <a:pt x="1451916" y="276329"/>
                </a:cubicBezTo>
                <a:cubicBezTo>
                  <a:pt x="1435237" y="573357"/>
                  <a:pt x="1451916" y="685066"/>
                  <a:pt x="1471272" y="814379"/>
                </a:cubicBezTo>
                <a:cubicBezTo>
                  <a:pt x="1475286" y="841250"/>
                  <a:pt x="1479404" y="868636"/>
                  <a:pt x="1483420" y="898699"/>
                </a:cubicBezTo>
                <a:cubicBezTo>
                  <a:pt x="1481152" y="896509"/>
                  <a:pt x="1477822" y="895827"/>
                  <a:pt x="1474875" y="896949"/>
                </a:cubicBezTo>
                <a:cubicBezTo>
                  <a:pt x="1471580" y="898160"/>
                  <a:pt x="1469453" y="901371"/>
                  <a:pt x="1469624" y="904876"/>
                </a:cubicBezTo>
                <a:lnTo>
                  <a:pt x="1475801" y="1056016"/>
                </a:lnTo>
                <a:cubicBezTo>
                  <a:pt x="1475802" y="1058693"/>
                  <a:pt x="1506689" y="1305376"/>
                  <a:pt x="1534486" y="1466709"/>
                </a:cubicBezTo>
                <a:cubicBezTo>
                  <a:pt x="1472713" y="1381357"/>
                  <a:pt x="1420617" y="1307127"/>
                  <a:pt x="1375110" y="1231556"/>
                </a:cubicBezTo>
                <a:cubicBezTo>
                  <a:pt x="1236222" y="827660"/>
                  <a:pt x="1107424" y="530425"/>
                  <a:pt x="1069124" y="524762"/>
                </a:cubicBezTo>
                <a:cubicBezTo>
                  <a:pt x="1064778" y="523997"/>
                  <a:pt x="1060386" y="525851"/>
                  <a:pt x="1057902" y="529499"/>
                </a:cubicBezTo>
                <a:cubicBezTo>
                  <a:pt x="1038341" y="556473"/>
                  <a:pt x="1117205" y="786271"/>
                  <a:pt x="1263815" y="1103376"/>
                </a:cubicBezTo>
                <a:cubicBezTo>
                  <a:pt x="1118647" y="850515"/>
                  <a:pt x="993966" y="628439"/>
                  <a:pt x="925398" y="342015"/>
                </a:cubicBezTo>
                <a:cubicBezTo>
                  <a:pt x="924455" y="338123"/>
                  <a:pt x="920849" y="335472"/>
                  <a:pt x="916853" y="335735"/>
                </a:cubicBezTo>
                <a:cubicBezTo>
                  <a:pt x="907625" y="336303"/>
                  <a:pt x="899447" y="341873"/>
                  <a:pt x="895541" y="350251"/>
                </a:cubicBezTo>
                <a:cubicBezTo>
                  <a:pt x="867948" y="405539"/>
                  <a:pt x="971007" y="639147"/>
                  <a:pt x="1062329" y="825498"/>
                </a:cubicBezTo>
                <a:cubicBezTo>
                  <a:pt x="1155607" y="1015966"/>
                  <a:pt x="1279155" y="1241955"/>
                  <a:pt x="1373669" y="1396183"/>
                </a:cubicBezTo>
                <a:cubicBezTo>
                  <a:pt x="1094555" y="1151354"/>
                  <a:pt x="790216" y="774328"/>
                  <a:pt x="511925" y="327807"/>
                </a:cubicBezTo>
                <a:cubicBezTo>
                  <a:pt x="509576" y="323980"/>
                  <a:pt x="504567" y="322782"/>
                  <a:pt x="500738" y="325133"/>
                </a:cubicBezTo>
                <a:cubicBezTo>
                  <a:pt x="497597" y="327063"/>
                  <a:pt x="496146" y="330864"/>
                  <a:pt x="497204" y="334396"/>
                </a:cubicBezTo>
                <a:cubicBezTo>
                  <a:pt x="590790" y="651502"/>
                  <a:pt x="862492" y="933087"/>
                  <a:pt x="1125236" y="1205406"/>
                </a:cubicBezTo>
                <a:cubicBezTo>
                  <a:pt x="1173934" y="1255854"/>
                  <a:pt x="1220676" y="1304244"/>
                  <a:pt x="1265462" y="1352118"/>
                </a:cubicBezTo>
                <a:cubicBezTo>
                  <a:pt x="875876" y="1078152"/>
                  <a:pt x="581319" y="654487"/>
                  <a:pt x="296026" y="244207"/>
                </a:cubicBezTo>
                <a:lnTo>
                  <a:pt x="243622" y="168740"/>
                </a:lnTo>
                <a:cubicBezTo>
                  <a:pt x="241327" y="165413"/>
                  <a:pt x="236918" y="164311"/>
                  <a:pt x="233327" y="166165"/>
                </a:cubicBezTo>
                <a:close/>
              </a:path>
            </a:pathLst>
          </a:custGeom>
          <a:solidFill>
            <a:schemeClr val="accent3">
              <a:lumMod val="40000"/>
              <a:lumOff val="60000"/>
              <a:alpha val="82000"/>
            </a:schemeClr>
          </a:solidFill>
          <a:ln w="9525"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23782233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Introduc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5ED18-7A07-47F1-8056-CD86B076AFE2}"/>
              </a:ext>
            </a:extLst>
          </p:cNvPr>
          <p:cNvSpPr>
            <a:spLocks noGrp="1"/>
          </p:cNvSpPr>
          <p:nvPr>
            <p:ph type="title" hasCustomPrompt="1"/>
          </p:nvPr>
        </p:nvSpPr>
        <p:spPr>
          <a:xfrm>
            <a:off x="6312583" y="2102720"/>
            <a:ext cx="5422217" cy="1325563"/>
          </a:xfrm>
        </p:spPr>
        <p:txBody>
          <a:bodyPr anchor="b" anchorCtr="0">
            <a:normAutofit/>
          </a:bodyPr>
          <a:lstStyle>
            <a:lvl1pPr>
              <a:defRPr sz="3600">
                <a:solidFill>
                  <a:schemeClr val="bg2">
                    <a:lumMod val="50000"/>
                  </a:schemeClr>
                </a:solidFill>
              </a:defRPr>
            </a:lvl1pPr>
          </a:lstStyle>
          <a:p>
            <a:r>
              <a:rPr lang="en-US"/>
              <a:t>CLICK TO ADD TITLE</a:t>
            </a:r>
          </a:p>
        </p:txBody>
      </p:sp>
      <p:sp>
        <p:nvSpPr>
          <p:cNvPr id="13" name="Picture Placeholder 12">
            <a:extLst>
              <a:ext uri="{FF2B5EF4-FFF2-40B4-BE49-F238E27FC236}">
                <a16:creationId xmlns:a16="http://schemas.microsoft.com/office/drawing/2014/main" id="{428B1CE2-91FA-4E2B-8543-3B0F79B4801D}"/>
              </a:ext>
            </a:extLst>
          </p:cNvPr>
          <p:cNvSpPr>
            <a:spLocks noGrp="1"/>
          </p:cNvSpPr>
          <p:nvPr>
            <p:ph type="pic" sz="quarter" idx="15"/>
          </p:nvPr>
        </p:nvSpPr>
        <p:spPr>
          <a:xfrm>
            <a:off x="457200" y="1143000"/>
            <a:ext cx="5486400" cy="4572000"/>
          </a:xfrm>
          <a:solidFill>
            <a:schemeClr val="accent1"/>
          </a:solidFill>
        </p:spPr>
        <p:txBody>
          <a:bodyPr/>
          <a:lstStyle/>
          <a:p>
            <a:endParaRPr lang="en-US"/>
          </a:p>
        </p:txBody>
      </p:sp>
      <p:sp>
        <p:nvSpPr>
          <p:cNvPr id="7" name="Text Placeholder 6">
            <a:extLst>
              <a:ext uri="{FF2B5EF4-FFF2-40B4-BE49-F238E27FC236}">
                <a16:creationId xmlns:a16="http://schemas.microsoft.com/office/drawing/2014/main" id="{24C2C3F7-8611-4C35-8251-0FD61D72D6B9}"/>
              </a:ext>
            </a:extLst>
          </p:cNvPr>
          <p:cNvSpPr>
            <a:spLocks noGrp="1"/>
          </p:cNvSpPr>
          <p:nvPr>
            <p:ph type="body" sz="quarter" idx="13"/>
          </p:nvPr>
        </p:nvSpPr>
        <p:spPr>
          <a:xfrm>
            <a:off x="6309360" y="3500407"/>
            <a:ext cx="4572000" cy="1888373"/>
          </a:xfrm>
        </p:spPr>
        <p:txBody>
          <a:bodyPr>
            <a:normAutofit/>
          </a:bodyPr>
          <a:lstStyle>
            <a:lvl1pPr marL="0" indent="0">
              <a:lnSpc>
                <a:spcPts val="2400"/>
              </a:lnSpc>
              <a:buFont typeface="Arial" panose="020B0604020202020204" pitchFamily="34" charset="0"/>
              <a:buNone/>
              <a:defRPr sz="1400" spc="30" baseline="0">
                <a:solidFill>
                  <a:schemeClr val="bg2">
                    <a:lumMod val="50000"/>
                  </a:schemeClr>
                </a:solidFill>
              </a:defRPr>
            </a:lvl1pPr>
            <a:lvl2pPr marL="457200" indent="0">
              <a:lnSpc>
                <a:spcPts val="2400"/>
              </a:lnSpc>
              <a:buFont typeface="Arial" panose="020B0604020202020204" pitchFamily="34" charset="0"/>
              <a:buNone/>
              <a:defRPr sz="1400" spc="30" baseline="0">
                <a:solidFill>
                  <a:schemeClr val="bg2">
                    <a:lumMod val="50000"/>
                  </a:schemeClr>
                </a:solidFill>
              </a:defRPr>
            </a:lvl2pPr>
            <a:lvl3pPr marL="914400" indent="0">
              <a:lnSpc>
                <a:spcPts val="2400"/>
              </a:lnSpc>
              <a:buFont typeface="Arial" panose="020B0604020202020204" pitchFamily="34" charset="0"/>
              <a:buNone/>
              <a:defRPr sz="1400" spc="30" baseline="0">
                <a:solidFill>
                  <a:schemeClr val="bg2">
                    <a:lumMod val="50000"/>
                  </a:schemeClr>
                </a:solidFill>
              </a:defRPr>
            </a:lvl3pPr>
            <a:lvl4pPr marL="1371600" indent="0">
              <a:lnSpc>
                <a:spcPts val="2400"/>
              </a:lnSpc>
              <a:buFont typeface="Arial" panose="020B0604020202020204" pitchFamily="34" charset="0"/>
              <a:buNone/>
              <a:defRPr sz="1400" spc="30" baseline="0">
                <a:solidFill>
                  <a:schemeClr val="bg2">
                    <a:lumMod val="50000"/>
                  </a:schemeClr>
                </a:solidFill>
              </a:defRPr>
            </a:lvl4pPr>
            <a:lvl5pPr marL="1828800" indent="0">
              <a:lnSpc>
                <a:spcPts val="2400"/>
              </a:lnSpc>
              <a:buFont typeface="Arial" panose="020B0604020202020204" pitchFamily="34" charset="0"/>
              <a:buNone/>
              <a:defRPr sz="1400" spc="30" baseline="0">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A0C71211-4520-46A1-9487-4AE49C3239EF}"/>
              </a:ext>
            </a:extLst>
          </p:cNvPr>
          <p:cNvSpPr>
            <a:spLocks noGrp="1"/>
          </p:cNvSpPr>
          <p:nvPr>
            <p:ph type="dt" sz="half" idx="10"/>
          </p:nvPr>
        </p:nvSpPr>
        <p:spPr/>
        <p:txBody>
          <a:bodyPr/>
          <a:lstStyle/>
          <a:p>
            <a:r>
              <a:rPr lang="en-US"/>
              <a:t>20XX</a:t>
            </a:r>
          </a:p>
        </p:txBody>
      </p:sp>
      <p:sp>
        <p:nvSpPr>
          <p:cNvPr id="4" name="Footer Placeholder 3">
            <a:extLst>
              <a:ext uri="{FF2B5EF4-FFF2-40B4-BE49-F238E27FC236}">
                <a16:creationId xmlns:a16="http://schemas.microsoft.com/office/drawing/2014/main" id="{96356206-85FD-45F5-A1F7-128DB34C860F}"/>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0203763F-C8CD-4BCB-9A0A-B10F000BC1DB}"/>
              </a:ext>
            </a:extLst>
          </p:cNvPr>
          <p:cNvSpPr>
            <a:spLocks noGrp="1"/>
          </p:cNvSpPr>
          <p:nvPr>
            <p:ph type="sldNum" sz="quarter" idx="12"/>
          </p:nvPr>
        </p:nvSpPr>
        <p:spPr/>
        <p:txBody>
          <a:bodyPr/>
          <a:lstStyle/>
          <a:p>
            <a:fld id="{294A09A9-5501-47C1-A89A-A340965A2BE2}" type="slidenum">
              <a:rPr lang="en-US" smtClean="0"/>
              <a:t>‹#›</a:t>
            </a:fld>
            <a:endParaRPr lang="en-US"/>
          </a:p>
        </p:txBody>
      </p:sp>
    </p:spTree>
    <p:extLst>
      <p:ext uri="{BB962C8B-B14F-4D97-AF65-F5344CB8AC3E}">
        <p14:creationId xmlns:p14="http://schemas.microsoft.com/office/powerpoint/2010/main" val="37075341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44DF764D-A077-4BED-ABF1-8DF341BC85D7}"/>
              </a:ext>
            </a:extLst>
          </p:cNvPr>
          <p:cNvSpPr>
            <a:spLocks noGrp="1"/>
          </p:cNvSpPr>
          <p:nvPr>
            <p:ph type="pic" sz="quarter" idx="10"/>
          </p:nvPr>
        </p:nvSpPr>
        <p:spPr>
          <a:xfrm>
            <a:off x="1524" y="-2"/>
            <a:ext cx="12188952" cy="4572000"/>
          </a:xfrm>
          <a:solidFill>
            <a:schemeClr val="accent1"/>
          </a:solidFill>
        </p:spPr>
        <p:txBody>
          <a:bodyPr/>
          <a:lstStyle/>
          <a:p>
            <a:endParaRPr lang="en-US"/>
          </a:p>
        </p:txBody>
      </p:sp>
      <p:sp>
        <p:nvSpPr>
          <p:cNvPr id="2" name="Title 1">
            <a:extLst>
              <a:ext uri="{FF2B5EF4-FFF2-40B4-BE49-F238E27FC236}">
                <a16:creationId xmlns:a16="http://schemas.microsoft.com/office/drawing/2014/main" id="{494248F2-5264-4601-AA0B-6C092F77F2DD}"/>
              </a:ext>
            </a:extLst>
          </p:cNvPr>
          <p:cNvSpPr>
            <a:spLocks noGrp="1"/>
          </p:cNvSpPr>
          <p:nvPr>
            <p:ph type="ctrTitle" hasCustomPrompt="1"/>
          </p:nvPr>
        </p:nvSpPr>
        <p:spPr>
          <a:xfrm>
            <a:off x="1524000" y="4667250"/>
            <a:ext cx="9144000" cy="1212182"/>
          </a:xfrm>
        </p:spPr>
        <p:txBody>
          <a:bodyPr anchor="b">
            <a:normAutofit/>
          </a:bodyPr>
          <a:lstStyle>
            <a:lvl1pPr algn="ctr">
              <a:defRPr sz="3600">
                <a:solidFill>
                  <a:schemeClr val="bg2">
                    <a:lumMod val="50000"/>
                  </a:schemeClr>
                </a:solidFill>
              </a:defRPr>
            </a:lvl1pPr>
          </a:lstStyle>
          <a:p>
            <a:r>
              <a:rPr lang="en-US"/>
              <a:t>CLICK TO ADD TITLE</a:t>
            </a:r>
          </a:p>
        </p:txBody>
      </p:sp>
      <p:sp>
        <p:nvSpPr>
          <p:cNvPr id="3" name="Subtitle 2">
            <a:extLst>
              <a:ext uri="{FF2B5EF4-FFF2-40B4-BE49-F238E27FC236}">
                <a16:creationId xmlns:a16="http://schemas.microsoft.com/office/drawing/2014/main" id="{DCFB69D3-5632-4285-A209-9DCA67DA668C}"/>
              </a:ext>
            </a:extLst>
          </p:cNvPr>
          <p:cNvSpPr>
            <a:spLocks noGrp="1"/>
          </p:cNvSpPr>
          <p:nvPr>
            <p:ph type="subTitle" idx="1"/>
          </p:nvPr>
        </p:nvSpPr>
        <p:spPr>
          <a:xfrm>
            <a:off x="1524000" y="5971507"/>
            <a:ext cx="9144000" cy="524794"/>
          </a:xfrm>
        </p:spPr>
        <p:txBody>
          <a:bodyPr>
            <a:normAutofit/>
          </a:bodyPr>
          <a:lstStyle>
            <a:lvl1pPr marL="0" indent="0" algn="ctr">
              <a:buNone/>
              <a:defRPr sz="1400" spc="30" baseline="0">
                <a:solidFill>
                  <a:schemeClr val="bg2">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686804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D97974-B93C-4C96-B3F6-F69E3D6DE6CA}"/>
              </a:ext>
            </a:extLst>
          </p:cNvPr>
          <p:cNvSpPr>
            <a:spLocks noGrp="1"/>
          </p:cNvSpPr>
          <p:nvPr>
            <p:ph type="title" hasCustomPrompt="1"/>
          </p:nvPr>
        </p:nvSpPr>
        <p:spPr/>
        <p:txBody>
          <a:bodyPr>
            <a:normAutofit/>
          </a:bodyPr>
          <a:lstStyle>
            <a:lvl1pPr>
              <a:defRPr sz="3600">
                <a:solidFill>
                  <a:schemeClr val="bg2">
                    <a:lumMod val="50000"/>
                  </a:schemeClr>
                </a:solidFill>
              </a:defRPr>
            </a:lvl1pPr>
          </a:lstStyle>
          <a:p>
            <a:r>
              <a:rPr lang="en-US"/>
              <a:t>CLICK TO ADD TITLE</a:t>
            </a:r>
          </a:p>
        </p:txBody>
      </p:sp>
      <p:sp>
        <p:nvSpPr>
          <p:cNvPr id="3" name="Content Placeholder 2">
            <a:extLst>
              <a:ext uri="{FF2B5EF4-FFF2-40B4-BE49-F238E27FC236}">
                <a16:creationId xmlns:a16="http://schemas.microsoft.com/office/drawing/2014/main" id="{8A6FC6F2-80B4-49A7-9448-33FE2DF0E967}"/>
              </a:ext>
            </a:extLst>
          </p:cNvPr>
          <p:cNvSpPr>
            <a:spLocks noGrp="1"/>
          </p:cNvSpPr>
          <p:nvPr>
            <p:ph idx="1"/>
          </p:nvPr>
        </p:nvSpPr>
        <p:spPr>
          <a:xfrm>
            <a:off x="838200" y="1825625"/>
            <a:ext cx="10515600" cy="4351338"/>
          </a:xfrm>
        </p:spPr>
        <p:txBody>
          <a:bodyPr/>
          <a:lstStyle>
            <a:lvl1pPr>
              <a:defRPr>
                <a:solidFill>
                  <a:schemeClr val="bg2">
                    <a:lumMod val="50000"/>
                  </a:schemeClr>
                </a:solidFill>
              </a:defRPr>
            </a:lvl1pPr>
            <a:lvl2pPr>
              <a:defRPr>
                <a:solidFill>
                  <a:schemeClr val="bg2">
                    <a:lumMod val="50000"/>
                  </a:schemeClr>
                </a:solidFill>
              </a:defRPr>
            </a:lvl2pPr>
            <a:lvl3pPr>
              <a:defRPr>
                <a:solidFill>
                  <a:schemeClr val="bg2">
                    <a:lumMod val="50000"/>
                  </a:schemeClr>
                </a:solidFill>
              </a:defRPr>
            </a:lvl3pPr>
            <a:lvl4pPr>
              <a:defRPr>
                <a:solidFill>
                  <a:schemeClr val="bg2">
                    <a:lumMod val="50000"/>
                  </a:schemeClr>
                </a:solidFill>
              </a:defRPr>
            </a:lvl4pPr>
            <a:lvl5pPr>
              <a:defRPr>
                <a:solidFill>
                  <a:schemeClr val="bg2">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2">
            <a:extLst>
              <a:ext uri="{FF2B5EF4-FFF2-40B4-BE49-F238E27FC236}">
                <a16:creationId xmlns:a16="http://schemas.microsoft.com/office/drawing/2014/main" id="{842BA18D-167B-42CD-8DD5-844A20873AAA}"/>
              </a:ext>
            </a:extLst>
          </p:cNvPr>
          <p:cNvSpPr>
            <a:spLocks noGrp="1"/>
          </p:cNvSpPr>
          <p:nvPr>
            <p:ph type="dt" sz="half" idx="10"/>
          </p:nvPr>
        </p:nvSpPr>
        <p:spPr>
          <a:xfrm>
            <a:off x="457200" y="6356350"/>
            <a:ext cx="2743200" cy="365125"/>
          </a:xfrm>
        </p:spPr>
        <p:txBody>
          <a:bodyPr/>
          <a:lstStyle/>
          <a:p>
            <a:r>
              <a:rPr lang="en-US"/>
              <a:t>20XX</a:t>
            </a:r>
          </a:p>
        </p:txBody>
      </p:sp>
      <p:sp>
        <p:nvSpPr>
          <p:cNvPr id="7" name="Footer Placeholder 3">
            <a:extLst>
              <a:ext uri="{FF2B5EF4-FFF2-40B4-BE49-F238E27FC236}">
                <a16:creationId xmlns:a16="http://schemas.microsoft.com/office/drawing/2014/main" id="{519A9BF1-35FD-4BDE-9C59-E08CB7A7078D}"/>
              </a:ext>
            </a:extLst>
          </p:cNvPr>
          <p:cNvSpPr>
            <a:spLocks noGrp="1"/>
          </p:cNvSpPr>
          <p:nvPr>
            <p:ph type="ftr" sz="quarter" idx="11"/>
          </p:nvPr>
        </p:nvSpPr>
        <p:spPr>
          <a:xfrm>
            <a:off x="4038600" y="6356350"/>
            <a:ext cx="4114800" cy="365125"/>
          </a:xfrm>
        </p:spPr>
        <p:txBody>
          <a:bodyPr/>
          <a:lstStyle/>
          <a:p>
            <a:r>
              <a:rPr lang="en-US"/>
              <a:t>Presentation title</a:t>
            </a:r>
          </a:p>
        </p:txBody>
      </p:sp>
      <p:sp>
        <p:nvSpPr>
          <p:cNvPr id="8" name="Slide Number Placeholder 4">
            <a:extLst>
              <a:ext uri="{FF2B5EF4-FFF2-40B4-BE49-F238E27FC236}">
                <a16:creationId xmlns:a16="http://schemas.microsoft.com/office/drawing/2014/main" id="{F02A2A47-BED9-43DF-8914-AD1EB274F523}"/>
              </a:ext>
            </a:extLst>
          </p:cNvPr>
          <p:cNvSpPr>
            <a:spLocks noGrp="1"/>
          </p:cNvSpPr>
          <p:nvPr>
            <p:ph type="sldNum" sz="quarter" idx="12"/>
          </p:nvPr>
        </p:nvSpPr>
        <p:spPr>
          <a:xfrm>
            <a:off x="8610600" y="6356350"/>
            <a:ext cx="2743200" cy="365125"/>
          </a:xfrm>
        </p:spPr>
        <p:txBody>
          <a:bodyPr/>
          <a:lstStyle/>
          <a:p>
            <a:fld id="{294A09A9-5501-47C1-A89A-A340965A2BE2}" type="slidenum">
              <a:rPr lang="en-US" smtClean="0"/>
              <a:t>‹#›</a:t>
            </a:fld>
            <a:endParaRPr lang="en-US"/>
          </a:p>
        </p:txBody>
      </p:sp>
    </p:spTree>
    <p:extLst>
      <p:ext uri="{BB962C8B-B14F-4D97-AF65-F5344CB8AC3E}">
        <p14:creationId xmlns:p14="http://schemas.microsoft.com/office/powerpoint/2010/main" val="10118149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FDFBA353-19B1-4A04-A7EE-345F93C189D4}"/>
              </a:ext>
            </a:extLst>
          </p:cNvPr>
          <p:cNvSpPr>
            <a:spLocks noGrp="1"/>
          </p:cNvSpPr>
          <p:nvPr>
            <p:ph type="pic" sz="quarter" idx="13"/>
          </p:nvPr>
        </p:nvSpPr>
        <p:spPr>
          <a:xfrm>
            <a:off x="6232491" y="946404"/>
            <a:ext cx="5486400" cy="4965192"/>
          </a:xfrm>
          <a:solidFill>
            <a:schemeClr val="accent1"/>
          </a:solidFill>
        </p:spPr>
        <p:txBody>
          <a:bodyPr/>
          <a:lstStyle/>
          <a:p>
            <a:endParaRPr lang="en-US"/>
          </a:p>
        </p:txBody>
      </p:sp>
      <p:sp>
        <p:nvSpPr>
          <p:cNvPr id="2" name="Title 1">
            <a:extLst>
              <a:ext uri="{FF2B5EF4-FFF2-40B4-BE49-F238E27FC236}">
                <a16:creationId xmlns:a16="http://schemas.microsoft.com/office/drawing/2014/main" id="{EDC4857A-B6DC-4F0A-AD6B-243F6C085554}"/>
              </a:ext>
            </a:extLst>
          </p:cNvPr>
          <p:cNvSpPr>
            <a:spLocks noGrp="1"/>
          </p:cNvSpPr>
          <p:nvPr>
            <p:ph type="title" hasCustomPrompt="1"/>
          </p:nvPr>
        </p:nvSpPr>
        <p:spPr>
          <a:xfrm>
            <a:off x="473109" y="2386584"/>
            <a:ext cx="4315968" cy="2084832"/>
          </a:xfrm>
        </p:spPr>
        <p:txBody>
          <a:bodyPr anchor="t">
            <a:normAutofit/>
          </a:bodyPr>
          <a:lstStyle>
            <a:lvl1pPr>
              <a:defRPr sz="3400" spc="0" baseline="0">
                <a:solidFill>
                  <a:schemeClr val="bg2">
                    <a:lumMod val="75000"/>
                  </a:schemeClr>
                </a:solidFill>
              </a:defRPr>
            </a:lvl1pPr>
          </a:lstStyle>
          <a:p>
            <a:r>
              <a:rPr lang="en-US"/>
              <a:t>Click to add title</a:t>
            </a:r>
          </a:p>
        </p:txBody>
      </p:sp>
      <p:sp>
        <p:nvSpPr>
          <p:cNvPr id="13" name="Text Placeholder 6">
            <a:extLst>
              <a:ext uri="{FF2B5EF4-FFF2-40B4-BE49-F238E27FC236}">
                <a16:creationId xmlns:a16="http://schemas.microsoft.com/office/drawing/2014/main" id="{D8717D35-8E1B-4C94-BA72-91D4DCA6576C}"/>
              </a:ext>
            </a:extLst>
          </p:cNvPr>
          <p:cNvSpPr>
            <a:spLocks noGrp="1"/>
          </p:cNvSpPr>
          <p:nvPr>
            <p:ph type="body" sz="quarter" idx="15" hasCustomPrompt="1"/>
          </p:nvPr>
        </p:nvSpPr>
        <p:spPr>
          <a:xfrm>
            <a:off x="457200" y="4471416"/>
            <a:ext cx="3584448" cy="637674"/>
          </a:xfrm>
        </p:spPr>
        <p:txBody>
          <a:bodyPr anchor="ctr" anchorCtr="0">
            <a:normAutofit/>
          </a:bodyPr>
          <a:lstStyle>
            <a:lvl1pPr marL="0" indent="0">
              <a:lnSpc>
                <a:spcPct val="100000"/>
              </a:lnSpc>
              <a:buFont typeface="Arial" panose="020B0604020202020204" pitchFamily="34" charset="0"/>
              <a:buNone/>
              <a:defRPr sz="1600" spc="100" baseline="0">
                <a:solidFill>
                  <a:schemeClr val="bg2">
                    <a:lumMod val="50000"/>
                  </a:schemeClr>
                </a:solidFill>
                <a:latin typeface="+mn-lt"/>
              </a:defRPr>
            </a:lvl1pPr>
            <a:lvl2pPr marL="457200" indent="0">
              <a:lnSpc>
                <a:spcPct val="100000"/>
              </a:lnSpc>
              <a:buFont typeface="Arial" panose="020B0604020202020204" pitchFamily="34" charset="0"/>
              <a:buNone/>
              <a:defRPr sz="2000">
                <a:latin typeface="+mj-lt"/>
              </a:defRPr>
            </a:lvl2pPr>
            <a:lvl3pPr marL="914400" indent="0">
              <a:lnSpc>
                <a:spcPct val="100000"/>
              </a:lnSpc>
              <a:buFont typeface="Arial" panose="020B0604020202020204" pitchFamily="34" charset="0"/>
              <a:buNone/>
              <a:defRPr sz="2000">
                <a:latin typeface="+mj-lt"/>
              </a:defRPr>
            </a:lvl3pPr>
            <a:lvl4pPr marL="1371600" indent="0">
              <a:lnSpc>
                <a:spcPct val="100000"/>
              </a:lnSpc>
              <a:buFont typeface="Arial" panose="020B0604020202020204" pitchFamily="34" charset="0"/>
              <a:buNone/>
              <a:defRPr sz="2000">
                <a:latin typeface="+mj-lt"/>
              </a:defRPr>
            </a:lvl4pPr>
            <a:lvl5pPr marL="1828800" indent="0">
              <a:lnSpc>
                <a:spcPct val="100000"/>
              </a:lnSpc>
              <a:buFont typeface="Arial" panose="020B0604020202020204" pitchFamily="34" charset="0"/>
              <a:buNone/>
              <a:defRPr sz="2000">
                <a:latin typeface="+mj-lt"/>
              </a:defRPr>
            </a:lvl5pPr>
          </a:lstStyle>
          <a:p>
            <a:pPr lvl="0"/>
            <a:r>
              <a:rPr lang="en-US"/>
              <a:t>CLICK TO EDIT MASTER TEXT STYLES</a:t>
            </a:r>
          </a:p>
        </p:txBody>
      </p:sp>
      <p:sp>
        <p:nvSpPr>
          <p:cNvPr id="11" name="Picture Placeholder 9">
            <a:extLst>
              <a:ext uri="{FF2B5EF4-FFF2-40B4-BE49-F238E27FC236}">
                <a16:creationId xmlns:a16="http://schemas.microsoft.com/office/drawing/2014/main" id="{F15B60AE-D6AB-472C-8342-2A3EB53493C8}"/>
              </a:ext>
            </a:extLst>
          </p:cNvPr>
          <p:cNvSpPr>
            <a:spLocks noGrp="1"/>
          </p:cNvSpPr>
          <p:nvPr>
            <p:ph type="pic" sz="quarter" idx="14"/>
          </p:nvPr>
        </p:nvSpPr>
        <p:spPr>
          <a:xfrm>
            <a:off x="5093208" y="1600200"/>
            <a:ext cx="2286000" cy="3657600"/>
          </a:xfrm>
          <a:solidFill>
            <a:schemeClr val="accent1"/>
          </a:solidFill>
        </p:spPr>
        <p:txBody>
          <a:bodyPr/>
          <a:lstStyle/>
          <a:p>
            <a:endParaRPr lang="en-US"/>
          </a:p>
        </p:txBody>
      </p:sp>
      <p:sp>
        <p:nvSpPr>
          <p:cNvPr id="3" name="Date Placeholder 2">
            <a:extLst>
              <a:ext uri="{FF2B5EF4-FFF2-40B4-BE49-F238E27FC236}">
                <a16:creationId xmlns:a16="http://schemas.microsoft.com/office/drawing/2014/main" id="{A0C71211-4520-46A1-9487-4AE49C3239EF}"/>
              </a:ext>
            </a:extLst>
          </p:cNvPr>
          <p:cNvSpPr>
            <a:spLocks noGrp="1"/>
          </p:cNvSpPr>
          <p:nvPr>
            <p:ph type="dt" sz="half" idx="10"/>
          </p:nvPr>
        </p:nvSpPr>
        <p:spPr/>
        <p:txBody>
          <a:bodyPr/>
          <a:lstStyle/>
          <a:p>
            <a:r>
              <a:rPr lang="en-US"/>
              <a:t>20XX</a:t>
            </a:r>
          </a:p>
        </p:txBody>
      </p:sp>
      <p:sp>
        <p:nvSpPr>
          <p:cNvPr id="4" name="Footer Placeholder 3">
            <a:extLst>
              <a:ext uri="{FF2B5EF4-FFF2-40B4-BE49-F238E27FC236}">
                <a16:creationId xmlns:a16="http://schemas.microsoft.com/office/drawing/2014/main" id="{96356206-85FD-45F5-A1F7-128DB34C860F}"/>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0203763F-C8CD-4BCB-9A0A-B10F000BC1DB}"/>
              </a:ext>
            </a:extLst>
          </p:cNvPr>
          <p:cNvSpPr>
            <a:spLocks noGrp="1"/>
          </p:cNvSpPr>
          <p:nvPr>
            <p:ph type="sldNum" sz="quarter" idx="12"/>
          </p:nvPr>
        </p:nvSpPr>
        <p:spPr/>
        <p:txBody>
          <a:bodyPr/>
          <a:lstStyle/>
          <a:p>
            <a:fld id="{294A09A9-5501-47C1-A89A-A340965A2BE2}" type="slidenum">
              <a:rPr lang="en-US" smtClean="0"/>
              <a:t>‹#›</a:t>
            </a:fld>
            <a:endParaRPr lang="en-US"/>
          </a:p>
        </p:txBody>
      </p:sp>
      <p:sp>
        <p:nvSpPr>
          <p:cNvPr id="9" name="Freeform: Shape 8">
            <a:extLst>
              <a:ext uri="{FF2B5EF4-FFF2-40B4-BE49-F238E27FC236}">
                <a16:creationId xmlns:a16="http://schemas.microsoft.com/office/drawing/2014/main" id="{FBB5B262-532A-4EE4-98E7-0EB6A8C56003}"/>
              </a:ext>
              <a:ext uri="{C183D7F6-B498-43B3-948B-1728B52AA6E4}">
                <adec:decorative xmlns="" xmlns:adec="http://schemas.microsoft.com/office/drawing/2017/decorative" val="1"/>
              </a:ext>
            </a:extLst>
          </p:cNvPr>
          <p:cNvSpPr/>
          <p:nvPr userDrawn="1"/>
        </p:nvSpPr>
        <p:spPr>
          <a:xfrm rot="13547565" flipH="1">
            <a:off x="1727251" y="1145928"/>
            <a:ext cx="1044472" cy="908544"/>
          </a:xfrm>
          <a:custGeom>
            <a:avLst/>
            <a:gdLst>
              <a:gd name="connsiteX0" fmla="*/ 2669063 w 3859699"/>
              <a:gd name="connsiteY0" fmla="*/ 2093712 h 3357396"/>
              <a:gd name="connsiteX1" fmla="*/ 2719923 w 3859699"/>
              <a:gd name="connsiteY1" fmla="*/ 2108537 h 3357396"/>
              <a:gd name="connsiteX2" fmla="*/ 2680800 w 3859699"/>
              <a:gd name="connsiteY2" fmla="*/ 2134071 h 3357396"/>
              <a:gd name="connsiteX3" fmla="*/ 2681005 w 3859699"/>
              <a:gd name="connsiteY3" fmla="*/ 2134071 h 3357396"/>
              <a:gd name="connsiteX4" fmla="*/ 2677815 w 3859699"/>
              <a:gd name="connsiteY4" fmla="*/ 2137571 h 3357396"/>
              <a:gd name="connsiteX5" fmla="*/ 2466445 w 3859699"/>
              <a:gd name="connsiteY5" fmla="*/ 2477326 h 3357396"/>
              <a:gd name="connsiteX6" fmla="*/ 2440500 w 3859699"/>
              <a:gd name="connsiteY6" fmla="*/ 2506155 h 3357396"/>
              <a:gd name="connsiteX7" fmla="*/ 2392831 w 3859699"/>
              <a:gd name="connsiteY7" fmla="*/ 2555470 h 3357396"/>
              <a:gd name="connsiteX8" fmla="*/ 2363284 w 3859699"/>
              <a:gd name="connsiteY8" fmla="*/ 2586356 h 3357396"/>
              <a:gd name="connsiteX9" fmla="*/ 2459753 w 3859699"/>
              <a:gd name="connsiteY9" fmla="*/ 2414318 h 3357396"/>
              <a:gd name="connsiteX10" fmla="*/ 2536867 w 3859699"/>
              <a:gd name="connsiteY10" fmla="*/ 2267296 h 3357396"/>
              <a:gd name="connsiteX11" fmla="*/ 2669063 w 3859699"/>
              <a:gd name="connsiteY11" fmla="*/ 2093712 h 3357396"/>
              <a:gd name="connsiteX12" fmla="*/ 2772328 w 3859699"/>
              <a:gd name="connsiteY12" fmla="*/ 1912818 h 3357396"/>
              <a:gd name="connsiteX13" fmla="*/ 2772530 w 3859699"/>
              <a:gd name="connsiteY13" fmla="*/ 1912892 h 3357396"/>
              <a:gd name="connsiteX14" fmla="*/ 2772534 w 3859699"/>
              <a:gd name="connsiteY14" fmla="*/ 1912818 h 3357396"/>
              <a:gd name="connsiteX15" fmla="*/ 2245215 w 3859699"/>
              <a:gd name="connsiteY15" fmla="*/ 1880963 h 3357396"/>
              <a:gd name="connsiteX16" fmla="*/ 2276388 w 3859699"/>
              <a:gd name="connsiteY16" fmla="*/ 1873797 h 3357396"/>
              <a:gd name="connsiteX17" fmla="*/ 2393347 w 3859699"/>
              <a:gd name="connsiteY17" fmla="*/ 1926202 h 3357396"/>
              <a:gd name="connsiteX18" fmla="*/ 2483227 w 3859699"/>
              <a:gd name="connsiteY18" fmla="*/ 1957809 h 3357396"/>
              <a:gd name="connsiteX19" fmla="*/ 2601318 w 3859699"/>
              <a:gd name="connsiteY19" fmla="*/ 2019583 h 3357396"/>
              <a:gd name="connsiteX20" fmla="*/ 2524410 w 3859699"/>
              <a:gd name="connsiteY20" fmla="*/ 2034203 h 3357396"/>
              <a:gd name="connsiteX21" fmla="*/ 2524410 w 3859699"/>
              <a:gd name="connsiteY21" fmla="*/ 2034099 h 3357396"/>
              <a:gd name="connsiteX22" fmla="*/ 2520086 w 3859699"/>
              <a:gd name="connsiteY22" fmla="*/ 2035644 h 3357396"/>
              <a:gd name="connsiteX23" fmla="*/ 2152738 w 3859699"/>
              <a:gd name="connsiteY23" fmla="*/ 2108846 h 3357396"/>
              <a:gd name="connsiteX24" fmla="*/ 2155724 w 3859699"/>
              <a:gd name="connsiteY24" fmla="*/ 2089696 h 3357396"/>
              <a:gd name="connsiteX25" fmla="*/ 2156548 w 3859699"/>
              <a:gd name="connsiteY25" fmla="*/ 2085270 h 3357396"/>
              <a:gd name="connsiteX26" fmla="*/ 2210496 w 3859699"/>
              <a:gd name="connsiteY26" fmla="*/ 1907979 h 3357396"/>
              <a:gd name="connsiteX27" fmla="*/ 2245215 w 3859699"/>
              <a:gd name="connsiteY27" fmla="*/ 1880963 h 3357396"/>
              <a:gd name="connsiteX28" fmla="*/ 2934484 w 3859699"/>
              <a:gd name="connsiteY28" fmla="*/ 1597669 h 3357396"/>
              <a:gd name="connsiteX29" fmla="*/ 2934690 w 3859699"/>
              <a:gd name="connsiteY29" fmla="*/ 1597669 h 3357396"/>
              <a:gd name="connsiteX30" fmla="*/ 2894640 w 3859699"/>
              <a:gd name="connsiteY30" fmla="*/ 1741808 h 3357396"/>
              <a:gd name="connsiteX31" fmla="*/ 2847487 w 3859699"/>
              <a:gd name="connsiteY31" fmla="*/ 1880284 h 3357396"/>
              <a:gd name="connsiteX32" fmla="*/ 2934484 w 3859699"/>
              <a:gd name="connsiteY32" fmla="*/ 1597669 h 3357396"/>
              <a:gd name="connsiteX33" fmla="*/ 1963298 w 3859699"/>
              <a:gd name="connsiteY33" fmla="*/ 1789167 h 3357396"/>
              <a:gd name="connsiteX34" fmla="*/ 2158914 w 3859699"/>
              <a:gd name="connsiteY34" fmla="*/ 1835395 h 3357396"/>
              <a:gd name="connsiteX35" fmla="*/ 2170961 w 3859699"/>
              <a:gd name="connsiteY35" fmla="*/ 1901596 h 3357396"/>
              <a:gd name="connsiteX36" fmla="*/ 2147487 w 3859699"/>
              <a:gd name="connsiteY36" fmla="*/ 2055515 h 3357396"/>
              <a:gd name="connsiteX37" fmla="*/ 2136059 w 3859699"/>
              <a:gd name="connsiteY37" fmla="*/ 2082592 h 3357396"/>
              <a:gd name="connsiteX38" fmla="*/ 2136059 w 3859699"/>
              <a:gd name="connsiteY38" fmla="*/ 2082489 h 3357396"/>
              <a:gd name="connsiteX39" fmla="*/ 2101466 w 3859699"/>
              <a:gd name="connsiteY39" fmla="*/ 2103081 h 3357396"/>
              <a:gd name="connsiteX40" fmla="*/ 1963298 w 3859699"/>
              <a:gd name="connsiteY40" fmla="*/ 1789167 h 3357396"/>
              <a:gd name="connsiteX41" fmla="*/ 2803936 w 3859699"/>
              <a:gd name="connsiteY41" fmla="*/ 1468253 h 3357396"/>
              <a:gd name="connsiteX42" fmla="*/ 2803833 w 3859699"/>
              <a:gd name="connsiteY42" fmla="*/ 1471753 h 3357396"/>
              <a:gd name="connsiteX43" fmla="*/ 2805377 w 3859699"/>
              <a:gd name="connsiteY43" fmla="*/ 1469694 h 3357396"/>
              <a:gd name="connsiteX44" fmla="*/ 2801053 w 3859699"/>
              <a:gd name="connsiteY44" fmla="*/ 1431703 h 3357396"/>
              <a:gd name="connsiteX45" fmla="*/ 2818041 w 3859699"/>
              <a:gd name="connsiteY45" fmla="*/ 1465370 h 3357396"/>
              <a:gd name="connsiteX46" fmla="*/ 2801053 w 3859699"/>
              <a:gd name="connsiteY46" fmla="*/ 1431703 h 3357396"/>
              <a:gd name="connsiteX47" fmla="*/ 3002126 w 3859699"/>
              <a:gd name="connsiteY47" fmla="*/ 1352736 h 3357396"/>
              <a:gd name="connsiteX48" fmla="*/ 2821644 w 3859699"/>
              <a:gd name="connsiteY48" fmla="*/ 1933718 h 3357396"/>
              <a:gd name="connsiteX49" fmla="*/ 2777006 w 3859699"/>
              <a:gd name="connsiteY49" fmla="*/ 1914522 h 3357396"/>
              <a:gd name="connsiteX50" fmla="*/ 2772530 w 3859699"/>
              <a:gd name="connsiteY50" fmla="*/ 1912892 h 3357396"/>
              <a:gd name="connsiteX51" fmla="*/ 2771823 w 3859699"/>
              <a:gd name="connsiteY51" fmla="*/ 1925735 h 3357396"/>
              <a:gd name="connsiteX52" fmla="*/ 2713335 w 3859699"/>
              <a:gd name="connsiteY52" fmla="*/ 1897477 h 3357396"/>
              <a:gd name="connsiteX53" fmla="*/ 2393347 w 3859699"/>
              <a:gd name="connsiteY53" fmla="*/ 1575224 h 3357396"/>
              <a:gd name="connsiteX54" fmla="*/ 2550149 w 3859699"/>
              <a:gd name="connsiteY54" fmla="*/ 1660060 h 3357396"/>
              <a:gd name="connsiteX55" fmla="*/ 2548295 w 3859699"/>
              <a:gd name="connsiteY55" fmla="*/ 1657487 h 3357396"/>
              <a:gd name="connsiteX56" fmla="*/ 2734337 w 3859699"/>
              <a:gd name="connsiteY56" fmla="*/ 1748705 h 3357396"/>
              <a:gd name="connsiteX57" fmla="*/ 2700568 w 3859699"/>
              <a:gd name="connsiteY57" fmla="*/ 1686932 h 3357396"/>
              <a:gd name="connsiteX58" fmla="*/ 2555194 w 3859699"/>
              <a:gd name="connsiteY58" fmla="*/ 1586755 h 3357396"/>
              <a:gd name="connsiteX59" fmla="*/ 2683476 w 3859699"/>
              <a:gd name="connsiteY59" fmla="*/ 1653676 h 3357396"/>
              <a:gd name="connsiteX60" fmla="*/ 2746075 w 3859699"/>
              <a:gd name="connsiteY60" fmla="*/ 1691359 h 3357396"/>
              <a:gd name="connsiteX61" fmla="*/ 2681315 w 3859699"/>
              <a:gd name="connsiteY61" fmla="*/ 1518804 h 3357396"/>
              <a:gd name="connsiteX62" fmla="*/ 2706230 w 3859699"/>
              <a:gd name="connsiteY62" fmla="*/ 1476077 h 3357396"/>
              <a:gd name="connsiteX63" fmla="*/ 2707362 w 3859699"/>
              <a:gd name="connsiteY63" fmla="*/ 1477416 h 3357396"/>
              <a:gd name="connsiteX64" fmla="*/ 2786640 w 3859699"/>
              <a:gd name="connsiteY64" fmla="*/ 1636895 h 3357396"/>
              <a:gd name="connsiteX65" fmla="*/ 2807230 w 3859699"/>
              <a:gd name="connsiteY65" fmla="*/ 1544235 h 3357396"/>
              <a:gd name="connsiteX66" fmla="*/ 2794875 w 3859699"/>
              <a:gd name="connsiteY66" fmla="*/ 1632263 h 3357396"/>
              <a:gd name="connsiteX67" fmla="*/ 2756164 w 3859699"/>
              <a:gd name="connsiteY67" fmla="*/ 1691771 h 3357396"/>
              <a:gd name="connsiteX68" fmla="*/ 2798582 w 3859699"/>
              <a:gd name="connsiteY68" fmla="*/ 1662119 h 3357396"/>
              <a:gd name="connsiteX69" fmla="*/ 2865298 w 3859699"/>
              <a:gd name="connsiteY69" fmla="*/ 1627733 h 3357396"/>
              <a:gd name="connsiteX70" fmla="*/ 3002126 w 3859699"/>
              <a:gd name="connsiteY70" fmla="*/ 1352736 h 3357396"/>
              <a:gd name="connsiteX71" fmla="*/ 1695510 w 3859699"/>
              <a:gd name="connsiteY71" fmla="*/ 1723996 h 3357396"/>
              <a:gd name="connsiteX72" fmla="*/ 1075096 w 3859699"/>
              <a:gd name="connsiteY72" fmla="*/ 2194506 h 3357396"/>
              <a:gd name="connsiteX73" fmla="*/ 797115 w 3859699"/>
              <a:gd name="connsiteY73" fmla="*/ 2390123 h 3357396"/>
              <a:gd name="connsiteX74" fmla="*/ 802673 w 3859699"/>
              <a:gd name="connsiteY74" fmla="*/ 2399697 h 3357396"/>
              <a:gd name="connsiteX75" fmla="*/ 1710232 w 3859699"/>
              <a:gd name="connsiteY75" fmla="*/ 1728629 h 3357396"/>
              <a:gd name="connsiteX76" fmla="*/ 1695510 w 3859699"/>
              <a:gd name="connsiteY76" fmla="*/ 1723996 h 3357396"/>
              <a:gd name="connsiteX77" fmla="*/ 2541294 w 3859699"/>
              <a:gd name="connsiteY77" fmla="*/ 1460737 h 3357396"/>
              <a:gd name="connsiteX78" fmla="*/ 2655267 w 3859699"/>
              <a:gd name="connsiteY78" fmla="*/ 1557516 h 3357396"/>
              <a:gd name="connsiteX79" fmla="*/ 2658047 w 3859699"/>
              <a:gd name="connsiteY79" fmla="*/ 1599213 h 3357396"/>
              <a:gd name="connsiteX80" fmla="*/ 2639309 w 3859699"/>
              <a:gd name="connsiteY80" fmla="*/ 1576872 h 3357396"/>
              <a:gd name="connsiteX81" fmla="*/ 2622528 w 3859699"/>
              <a:gd name="connsiteY81" fmla="*/ 1574194 h 3357396"/>
              <a:gd name="connsiteX82" fmla="*/ 2596171 w 3859699"/>
              <a:gd name="connsiteY82" fmla="*/ 1547529 h 3357396"/>
              <a:gd name="connsiteX83" fmla="*/ 2582992 w 3859699"/>
              <a:gd name="connsiteY83" fmla="*/ 1539498 h 3357396"/>
              <a:gd name="connsiteX84" fmla="*/ 2588140 w 3859699"/>
              <a:gd name="connsiteY84" fmla="*/ 1554016 h 3357396"/>
              <a:gd name="connsiteX85" fmla="*/ 2624483 w 3859699"/>
              <a:gd name="connsiteY85" fmla="*/ 1583152 h 3357396"/>
              <a:gd name="connsiteX86" fmla="*/ 2606569 w 3859699"/>
              <a:gd name="connsiteY86" fmla="*/ 1584903 h 3357396"/>
              <a:gd name="connsiteX87" fmla="*/ 2541294 w 3859699"/>
              <a:gd name="connsiteY87" fmla="*/ 1460840 h 3357396"/>
              <a:gd name="connsiteX88" fmla="*/ 2263004 w 3859699"/>
              <a:gd name="connsiteY88" fmla="*/ 1472885 h 3357396"/>
              <a:gd name="connsiteX89" fmla="*/ 2408173 w 3859699"/>
              <a:gd name="connsiteY89" fmla="*/ 1662017 h 3357396"/>
              <a:gd name="connsiteX90" fmla="*/ 2410437 w 3859699"/>
              <a:gd name="connsiteY90" fmla="*/ 1664487 h 3357396"/>
              <a:gd name="connsiteX91" fmla="*/ 2558488 w 3859699"/>
              <a:gd name="connsiteY91" fmla="*/ 1828085 h 3357396"/>
              <a:gd name="connsiteX92" fmla="*/ 2681315 w 3859699"/>
              <a:gd name="connsiteY92" fmla="*/ 1970473 h 3357396"/>
              <a:gd name="connsiteX93" fmla="*/ 2384287 w 3859699"/>
              <a:gd name="connsiteY93" fmla="*/ 1873900 h 3357396"/>
              <a:gd name="connsiteX94" fmla="*/ 2293891 w 3859699"/>
              <a:gd name="connsiteY94" fmla="*/ 1830041 h 3357396"/>
              <a:gd name="connsiteX95" fmla="*/ 2285757 w 3859699"/>
              <a:gd name="connsiteY95" fmla="*/ 1830556 h 3357396"/>
              <a:gd name="connsiteX96" fmla="*/ 2282257 w 3859699"/>
              <a:gd name="connsiteY96" fmla="*/ 1815216 h 3357396"/>
              <a:gd name="connsiteX97" fmla="*/ 2276698 w 3859699"/>
              <a:gd name="connsiteY97" fmla="*/ 1810171 h 3357396"/>
              <a:gd name="connsiteX98" fmla="*/ 2248075 w 3859699"/>
              <a:gd name="connsiteY98" fmla="*/ 1803478 h 3357396"/>
              <a:gd name="connsiteX99" fmla="*/ 2223468 w 3859699"/>
              <a:gd name="connsiteY99" fmla="*/ 1792565 h 3357396"/>
              <a:gd name="connsiteX100" fmla="*/ 2227278 w 3859699"/>
              <a:gd name="connsiteY100" fmla="*/ 1707009 h 3357396"/>
              <a:gd name="connsiteX101" fmla="*/ 2229131 w 3859699"/>
              <a:gd name="connsiteY101" fmla="*/ 1663664 h 3357396"/>
              <a:gd name="connsiteX102" fmla="*/ 2231603 w 3859699"/>
              <a:gd name="connsiteY102" fmla="*/ 1645851 h 3357396"/>
              <a:gd name="connsiteX103" fmla="*/ 2263004 w 3859699"/>
              <a:gd name="connsiteY103" fmla="*/ 1472885 h 3357396"/>
              <a:gd name="connsiteX104" fmla="*/ 2654441 w 3859699"/>
              <a:gd name="connsiteY104" fmla="*/ 1313317 h 3357396"/>
              <a:gd name="connsiteX105" fmla="*/ 2723424 w 3859699"/>
              <a:gd name="connsiteY105" fmla="*/ 1392683 h 3357396"/>
              <a:gd name="connsiteX106" fmla="*/ 2713128 w 3859699"/>
              <a:gd name="connsiteY106" fmla="*/ 1425937 h 3357396"/>
              <a:gd name="connsiteX107" fmla="*/ 2697274 w 3859699"/>
              <a:gd name="connsiteY107" fmla="*/ 1438087 h 3357396"/>
              <a:gd name="connsiteX108" fmla="*/ 2675446 w 3859699"/>
              <a:gd name="connsiteY108" fmla="*/ 1420276 h 3357396"/>
              <a:gd name="connsiteX109" fmla="*/ 2676387 w 3859699"/>
              <a:gd name="connsiteY109" fmla="*/ 1450651 h 3357396"/>
              <a:gd name="connsiteX110" fmla="*/ 2684546 w 3859699"/>
              <a:gd name="connsiteY110" fmla="*/ 1451260 h 3357396"/>
              <a:gd name="connsiteX111" fmla="*/ 2684610 w 3859699"/>
              <a:gd name="connsiteY111" fmla="*/ 1451162 h 3357396"/>
              <a:gd name="connsiteX112" fmla="*/ 2684609 w 3859699"/>
              <a:gd name="connsiteY112" fmla="*/ 1451265 h 3357396"/>
              <a:gd name="connsiteX113" fmla="*/ 2684546 w 3859699"/>
              <a:gd name="connsiteY113" fmla="*/ 1451260 h 3357396"/>
              <a:gd name="connsiteX114" fmla="*/ 2667146 w 3859699"/>
              <a:gd name="connsiteY114" fmla="*/ 1477957 h 3357396"/>
              <a:gd name="connsiteX115" fmla="*/ 2676784 w 3859699"/>
              <a:gd name="connsiteY115" fmla="*/ 1512936 h 3357396"/>
              <a:gd name="connsiteX116" fmla="*/ 2620262 w 3859699"/>
              <a:gd name="connsiteY116" fmla="*/ 1411833 h 3357396"/>
              <a:gd name="connsiteX117" fmla="*/ 2627675 w 3859699"/>
              <a:gd name="connsiteY117" fmla="*/ 1382387 h 3357396"/>
              <a:gd name="connsiteX118" fmla="*/ 2654441 w 3859699"/>
              <a:gd name="connsiteY118" fmla="*/ 1313317 h 3357396"/>
              <a:gd name="connsiteX119" fmla="*/ 2300789 w 3859699"/>
              <a:gd name="connsiteY119" fmla="*/ 1402361 h 3357396"/>
              <a:gd name="connsiteX120" fmla="*/ 2473550 w 3859699"/>
              <a:gd name="connsiteY120" fmla="*/ 1546396 h 3357396"/>
              <a:gd name="connsiteX121" fmla="*/ 2473550 w 3859699"/>
              <a:gd name="connsiteY121" fmla="*/ 1546294 h 3357396"/>
              <a:gd name="connsiteX122" fmla="*/ 2604819 w 3859699"/>
              <a:gd name="connsiteY122" fmla="*/ 1665002 h 3357396"/>
              <a:gd name="connsiteX123" fmla="*/ 2528528 w 3859699"/>
              <a:gd name="connsiteY123" fmla="*/ 1629276 h 3357396"/>
              <a:gd name="connsiteX124" fmla="*/ 2441118 w 3859699"/>
              <a:gd name="connsiteY124" fmla="*/ 1554942 h 3357396"/>
              <a:gd name="connsiteX125" fmla="*/ 2300789 w 3859699"/>
              <a:gd name="connsiteY125" fmla="*/ 1402361 h 3357396"/>
              <a:gd name="connsiteX126" fmla="*/ 2768313 w 3859699"/>
              <a:gd name="connsiteY126" fmla="*/ 1246074 h 3357396"/>
              <a:gd name="connsiteX127" fmla="*/ 2753281 w 3859699"/>
              <a:gd name="connsiteY127" fmla="*/ 1365709 h 3357396"/>
              <a:gd name="connsiteX128" fmla="*/ 2838117 w 3859699"/>
              <a:gd name="connsiteY128" fmla="*/ 1288388 h 3357396"/>
              <a:gd name="connsiteX129" fmla="*/ 2825144 w 3859699"/>
              <a:gd name="connsiteY129" fmla="*/ 1452398 h 3357396"/>
              <a:gd name="connsiteX130" fmla="*/ 2813613 w 3859699"/>
              <a:gd name="connsiteY130" fmla="*/ 1435822 h 3357396"/>
              <a:gd name="connsiteX131" fmla="*/ 2812584 w 3859699"/>
              <a:gd name="connsiteY131" fmla="*/ 1342338 h 3357396"/>
              <a:gd name="connsiteX132" fmla="*/ 2729086 w 3859699"/>
              <a:gd name="connsiteY132" fmla="*/ 1381461 h 3357396"/>
              <a:gd name="connsiteX133" fmla="*/ 2697067 w 3859699"/>
              <a:gd name="connsiteY133" fmla="*/ 1302905 h 3357396"/>
              <a:gd name="connsiteX134" fmla="*/ 2739896 w 3859699"/>
              <a:gd name="connsiteY134" fmla="*/ 1383520 h 3357396"/>
              <a:gd name="connsiteX135" fmla="*/ 2739896 w 3859699"/>
              <a:gd name="connsiteY135" fmla="*/ 1383417 h 3357396"/>
              <a:gd name="connsiteX136" fmla="*/ 2750192 w 3859699"/>
              <a:gd name="connsiteY136" fmla="*/ 1342955 h 3357396"/>
              <a:gd name="connsiteX137" fmla="*/ 2768313 w 3859699"/>
              <a:gd name="connsiteY137" fmla="*/ 1246074 h 3357396"/>
              <a:gd name="connsiteX138" fmla="*/ 2575991 w 3859699"/>
              <a:gd name="connsiteY138" fmla="*/ 1285402 h 3357396"/>
              <a:gd name="connsiteX139" fmla="*/ 2604304 w 3859699"/>
              <a:gd name="connsiteY139" fmla="*/ 1347176 h 3357396"/>
              <a:gd name="connsiteX140" fmla="*/ 2601937 w 3859699"/>
              <a:gd name="connsiteY140" fmla="*/ 1448794 h 3357396"/>
              <a:gd name="connsiteX141" fmla="*/ 2602657 w 3859699"/>
              <a:gd name="connsiteY141" fmla="*/ 1458266 h 3357396"/>
              <a:gd name="connsiteX142" fmla="*/ 2600906 w 3859699"/>
              <a:gd name="connsiteY142" fmla="*/ 1457133 h 3357396"/>
              <a:gd name="connsiteX143" fmla="*/ 2594317 w 3859699"/>
              <a:gd name="connsiteY143" fmla="*/ 1423466 h 3357396"/>
              <a:gd name="connsiteX144" fmla="*/ 2587728 w 3859699"/>
              <a:gd name="connsiteY144" fmla="*/ 1388358 h 3357396"/>
              <a:gd name="connsiteX145" fmla="*/ 2585257 w 3859699"/>
              <a:gd name="connsiteY145" fmla="*/ 1384961 h 3357396"/>
              <a:gd name="connsiteX146" fmla="*/ 2581346 w 3859699"/>
              <a:gd name="connsiteY146" fmla="*/ 1386506 h 3357396"/>
              <a:gd name="connsiteX147" fmla="*/ 2568373 w 3859699"/>
              <a:gd name="connsiteY147" fmla="*/ 1416672 h 3357396"/>
              <a:gd name="connsiteX148" fmla="*/ 2558077 w 3859699"/>
              <a:gd name="connsiteY148" fmla="*/ 1434586 h 3357396"/>
              <a:gd name="connsiteX149" fmla="*/ 2554782 w 3859699"/>
              <a:gd name="connsiteY149" fmla="*/ 1436440 h 3357396"/>
              <a:gd name="connsiteX150" fmla="*/ 2544487 w 3859699"/>
              <a:gd name="connsiteY150" fmla="*/ 1423879 h 3357396"/>
              <a:gd name="connsiteX151" fmla="*/ 2557768 w 3859699"/>
              <a:gd name="connsiteY151" fmla="*/ 1432116 h 3357396"/>
              <a:gd name="connsiteX152" fmla="*/ 2557768 w 3859699"/>
              <a:gd name="connsiteY152" fmla="*/ 1432012 h 3357396"/>
              <a:gd name="connsiteX153" fmla="*/ 2557767 w 3859699"/>
              <a:gd name="connsiteY153" fmla="*/ 1390830 h 3357396"/>
              <a:gd name="connsiteX154" fmla="*/ 2558591 w 3859699"/>
              <a:gd name="connsiteY154" fmla="*/ 1357574 h 3357396"/>
              <a:gd name="connsiteX155" fmla="*/ 2562607 w 3859699"/>
              <a:gd name="connsiteY155" fmla="*/ 1308362 h 3357396"/>
              <a:gd name="connsiteX156" fmla="*/ 2573932 w 3859699"/>
              <a:gd name="connsiteY156" fmla="*/ 1288388 h 3357396"/>
              <a:gd name="connsiteX157" fmla="*/ 2575991 w 3859699"/>
              <a:gd name="connsiteY157" fmla="*/ 1285402 h 3357396"/>
              <a:gd name="connsiteX158" fmla="*/ 2241795 w 3859699"/>
              <a:gd name="connsiteY158" fmla="*/ 1342749 h 3357396"/>
              <a:gd name="connsiteX159" fmla="*/ 2375638 w 3859699"/>
              <a:gd name="connsiteY159" fmla="*/ 1566782 h 3357396"/>
              <a:gd name="connsiteX160" fmla="*/ 2241795 w 3859699"/>
              <a:gd name="connsiteY160" fmla="*/ 1342852 h 3357396"/>
              <a:gd name="connsiteX161" fmla="*/ 2805776 w 3859699"/>
              <a:gd name="connsiteY161" fmla="*/ 1148029 h 3357396"/>
              <a:gd name="connsiteX162" fmla="*/ 2807952 w 3859699"/>
              <a:gd name="connsiteY162" fmla="*/ 1147956 h 3357396"/>
              <a:gd name="connsiteX163" fmla="*/ 2807952 w 3859699"/>
              <a:gd name="connsiteY163" fmla="*/ 1147853 h 3357396"/>
              <a:gd name="connsiteX164" fmla="*/ 2757709 w 3859699"/>
              <a:gd name="connsiteY164" fmla="*/ 1197067 h 3357396"/>
              <a:gd name="connsiteX165" fmla="*/ 2805776 w 3859699"/>
              <a:gd name="connsiteY165" fmla="*/ 1148029 h 3357396"/>
              <a:gd name="connsiteX166" fmla="*/ 1665749 w 3859699"/>
              <a:gd name="connsiteY166" fmla="*/ 1414840 h 3357396"/>
              <a:gd name="connsiteX167" fmla="*/ 1669976 w 3859699"/>
              <a:gd name="connsiteY167" fmla="*/ 1494919 h 3357396"/>
              <a:gd name="connsiteX168" fmla="*/ 1680272 w 3859699"/>
              <a:gd name="connsiteY168" fmla="*/ 1545264 h 3357396"/>
              <a:gd name="connsiteX169" fmla="*/ 1645988 w 3859699"/>
              <a:gd name="connsiteY169" fmla="*/ 1549074 h 3357396"/>
              <a:gd name="connsiteX170" fmla="*/ 1658652 w 3859699"/>
              <a:gd name="connsiteY170" fmla="*/ 1444471 h 3357396"/>
              <a:gd name="connsiteX171" fmla="*/ 1658652 w 3859699"/>
              <a:gd name="connsiteY171" fmla="*/ 1444367 h 3357396"/>
              <a:gd name="connsiteX172" fmla="*/ 1665749 w 3859699"/>
              <a:gd name="connsiteY172" fmla="*/ 1414840 h 3357396"/>
              <a:gd name="connsiteX173" fmla="*/ 2598950 w 3859699"/>
              <a:gd name="connsiteY173" fmla="*/ 1100802 h 3357396"/>
              <a:gd name="connsiteX174" fmla="*/ 2624071 w 3859699"/>
              <a:gd name="connsiteY174" fmla="*/ 1146103 h 3357396"/>
              <a:gd name="connsiteX175" fmla="*/ 2632823 w 3859699"/>
              <a:gd name="connsiteY175" fmla="*/ 1169165 h 3357396"/>
              <a:gd name="connsiteX176" fmla="*/ 2655988 w 3859699"/>
              <a:gd name="connsiteY176" fmla="*/ 1194903 h 3357396"/>
              <a:gd name="connsiteX177" fmla="*/ 2666284 w 3859699"/>
              <a:gd name="connsiteY177" fmla="*/ 1194080 h 3357396"/>
              <a:gd name="connsiteX178" fmla="*/ 2687492 w 3859699"/>
              <a:gd name="connsiteY178" fmla="*/ 1151148 h 3357396"/>
              <a:gd name="connsiteX179" fmla="*/ 2716835 w 3859699"/>
              <a:gd name="connsiteY179" fmla="*/ 1245455 h 3357396"/>
              <a:gd name="connsiteX180" fmla="*/ 2708907 w 3859699"/>
              <a:gd name="connsiteY180" fmla="*/ 1233101 h 3357396"/>
              <a:gd name="connsiteX181" fmla="*/ 2697517 w 3859699"/>
              <a:gd name="connsiteY181" fmla="*/ 1231504 h 3357396"/>
              <a:gd name="connsiteX182" fmla="*/ 2694287 w 3859699"/>
              <a:gd name="connsiteY182" fmla="*/ 1238352 h 3357396"/>
              <a:gd name="connsiteX183" fmla="*/ 2686256 w 3859699"/>
              <a:gd name="connsiteY183" fmla="*/ 1256370 h 3357396"/>
              <a:gd name="connsiteX184" fmla="*/ 2669063 w 3859699"/>
              <a:gd name="connsiteY184" fmla="*/ 1254001 h 3357396"/>
              <a:gd name="connsiteX185" fmla="*/ 2657674 w 3859699"/>
              <a:gd name="connsiteY185" fmla="*/ 1255618 h 3357396"/>
              <a:gd name="connsiteX186" fmla="*/ 2656605 w 3859699"/>
              <a:gd name="connsiteY186" fmla="*/ 1263473 h 3357396"/>
              <a:gd name="connsiteX187" fmla="*/ 2657635 w 3859699"/>
              <a:gd name="connsiteY187" fmla="*/ 1266459 h 3357396"/>
              <a:gd name="connsiteX188" fmla="*/ 2655473 w 3859699"/>
              <a:gd name="connsiteY188" fmla="*/ 1268724 h 3357396"/>
              <a:gd name="connsiteX189" fmla="*/ 2629322 w 3859699"/>
              <a:gd name="connsiteY189" fmla="*/ 1293536 h 3357396"/>
              <a:gd name="connsiteX190" fmla="*/ 2628704 w 3859699"/>
              <a:gd name="connsiteY190" fmla="*/ 1210142 h 3357396"/>
              <a:gd name="connsiteX191" fmla="*/ 2624381 w 3859699"/>
              <a:gd name="connsiteY191" fmla="*/ 1199846 h 3357396"/>
              <a:gd name="connsiteX192" fmla="*/ 2621085 w 3859699"/>
              <a:gd name="connsiteY192" fmla="*/ 1199126 h 3357396"/>
              <a:gd name="connsiteX193" fmla="*/ 2613878 w 3859699"/>
              <a:gd name="connsiteY193" fmla="*/ 1203552 h 3357396"/>
              <a:gd name="connsiteX194" fmla="*/ 2598847 w 3859699"/>
              <a:gd name="connsiteY194" fmla="*/ 1224143 h 3357396"/>
              <a:gd name="connsiteX195" fmla="*/ 2594419 w 3859699"/>
              <a:gd name="connsiteY195" fmla="*/ 1229497 h 3357396"/>
              <a:gd name="connsiteX196" fmla="*/ 2592670 w 3859699"/>
              <a:gd name="connsiteY196" fmla="*/ 1155780 h 3357396"/>
              <a:gd name="connsiteX197" fmla="*/ 2592670 w 3859699"/>
              <a:gd name="connsiteY197" fmla="*/ 1155678 h 3357396"/>
              <a:gd name="connsiteX198" fmla="*/ 2598950 w 3859699"/>
              <a:gd name="connsiteY198" fmla="*/ 1100802 h 3357396"/>
              <a:gd name="connsiteX199" fmla="*/ 2393346 w 3859699"/>
              <a:gd name="connsiteY199" fmla="*/ 1158355 h 3357396"/>
              <a:gd name="connsiteX200" fmla="*/ 2398700 w 3859699"/>
              <a:gd name="connsiteY200" fmla="*/ 1160208 h 3357396"/>
              <a:gd name="connsiteX201" fmla="*/ 2423822 w 3859699"/>
              <a:gd name="connsiteY201" fmla="*/ 1172048 h 3357396"/>
              <a:gd name="connsiteX202" fmla="*/ 2467578 w 3859699"/>
              <a:gd name="connsiteY202" fmla="*/ 1259664 h 3357396"/>
              <a:gd name="connsiteX203" fmla="*/ 2534191 w 3859699"/>
              <a:gd name="connsiteY203" fmla="*/ 1430364 h 3357396"/>
              <a:gd name="connsiteX204" fmla="*/ 2532750 w 3859699"/>
              <a:gd name="connsiteY204" fmla="*/ 1436337 h 3357396"/>
              <a:gd name="connsiteX205" fmla="*/ 2532750 w 3859699"/>
              <a:gd name="connsiteY205" fmla="*/ 1436233 h 3357396"/>
              <a:gd name="connsiteX206" fmla="*/ 2524512 w 3859699"/>
              <a:gd name="connsiteY206" fmla="*/ 1445602 h 3357396"/>
              <a:gd name="connsiteX207" fmla="*/ 2393346 w 3859699"/>
              <a:gd name="connsiteY207" fmla="*/ 1158355 h 3357396"/>
              <a:gd name="connsiteX208" fmla="*/ 2769136 w 3859699"/>
              <a:gd name="connsiteY208" fmla="*/ 957385 h 3357396"/>
              <a:gd name="connsiteX209" fmla="*/ 2776137 w 3859699"/>
              <a:gd name="connsiteY209" fmla="*/ 1087006 h 3357396"/>
              <a:gd name="connsiteX210" fmla="*/ 2767592 w 3859699"/>
              <a:gd name="connsiteY210" fmla="*/ 1099670 h 3357396"/>
              <a:gd name="connsiteX211" fmla="*/ 2763577 w 3859699"/>
              <a:gd name="connsiteY211" fmla="*/ 1099670 h 3357396"/>
              <a:gd name="connsiteX212" fmla="*/ 2769136 w 3859699"/>
              <a:gd name="connsiteY212" fmla="*/ 1118304 h 3357396"/>
              <a:gd name="connsiteX213" fmla="*/ 2744015 w 3859699"/>
              <a:gd name="connsiteY213" fmla="*/ 1168960 h 3357396"/>
              <a:gd name="connsiteX214" fmla="*/ 2769136 w 3859699"/>
              <a:gd name="connsiteY214" fmla="*/ 957487 h 3357396"/>
              <a:gd name="connsiteX215" fmla="*/ 808131 w 3859699"/>
              <a:gd name="connsiteY215" fmla="*/ 1516642 h 3357396"/>
              <a:gd name="connsiteX216" fmla="*/ 1494745 w 3859699"/>
              <a:gd name="connsiteY216" fmla="*/ 1557825 h 3357396"/>
              <a:gd name="connsiteX217" fmla="*/ 1384274 w 3859699"/>
              <a:gd name="connsiteY217" fmla="*/ 1570076 h 3357396"/>
              <a:gd name="connsiteX218" fmla="*/ 1343606 w 3859699"/>
              <a:gd name="connsiteY218" fmla="*/ 1570694 h 3357396"/>
              <a:gd name="connsiteX219" fmla="*/ 1207395 w 3859699"/>
              <a:gd name="connsiteY219" fmla="*/ 1561119 h 3357396"/>
              <a:gd name="connsiteX220" fmla="*/ 985010 w 3859699"/>
              <a:gd name="connsiteY220" fmla="*/ 1546499 h 3357396"/>
              <a:gd name="connsiteX221" fmla="*/ 985009 w 3859699"/>
              <a:gd name="connsiteY221" fmla="*/ 1548558 h 3357396"/>
              <a:gd name="connsiteX222" fmla="*/ 954843 w 3859699"/>
              <a:gd name="connsiteY222" fmla="*/ 1534866 h 3357396"/>
              <a:gd name="connsiteX223" fmla="*/ 1627147 w 3859699"/>
              <a:gd name="connsiteY223" fmla="*/ 1234645 h 3357396"/>
              <a:gd name="connsiteX224" fmla="*/ 1613763 w 3859699"/>
              <a:gd name="connsiteY224" fmla="*/ 1488638 h 3357396"/>
              <a:gd name="connsiteX225" fmla="*/ 1627147 w 3859699"/>
              <a:gd name="connsiteY225" fmla="*/ 1234748 h 3357396"/>
              <a:gd name="connsiteX226" fmla="*/ 1735730 w 3859699"/>
              <a:gd name="connsiteY226" fmla="*/ 943844 h 3357396"/>
              <a:gd name="connsiteX227" fmla="*/ 1741017 w 3859699"/>
              <a:gd name="connsiteY227" fmla="*/ 946573 h 3357396"/>
              <a:gd name="connsiteX228" fmla="*/ 1743692 w 3859699"/>
              <a:gd name="connsiteY228" fmla="*/ 1404112 h 3357396"/>
              <a:gd name="connsiteX229" fmla="*/ 1743693 w 3859699"/>
              <a:gd name="connsiteY229" fmla="*/ 1413789 h 3357396"/>
              <a:gd name="connsiteX230" fmla="*/ 1745444 w 3859699"/>
              <a:gd name="connsiteY230" fmla="*/ 1582637 h 3357396"/>
              <a:gd name="connsiteX231" fmla="*/ 1740810 w 3859699"/>
              <a:gd name="connsiteY231" fmla="*/ 1589329 h 3357396"/>
              <a:gd name="connsiteX232" fmla="*/ 1737310 w 3859699"/>
              <a:gd name="connsiteY232" fmla="*/ 1590153 h 3357396"/>
              <a:gd name="connsiteX233" fmla="*/ 1732676 w 3859699"/>
              <a:gd name="connsiteY233" fmla="*/ 1588712 h 3357396"/>
              <a:gd name="connsiteX234" fmla="*/ 1698702 w 3859699"/>
              <a:gd name="connsiteY234" fmla="*/ 1293330 h 3357396"/>
              <a:gd name="connsiteX235" fmla="*/ 1698701 w 3859699"/>
              <a:gd name="connsiteY235" fmla="*/ 1293227 h 3357396"/>
              <a:gd name="connsiteX236" fmla="*/ 1718778 w 3859699"/>
              <a:gd name="connsiteY236" fmla="*/ 1051281 h 3357396"/>
              <a:gd name="connsiteX237" fmla="*/ 1726808 w 3859699"/>
              <a:gd name="connsiteY237" fmla="*/ 951103 h 3357396"/>
              <a:gd name="connsiteX238" fmla="*/ 1735730 w 3859699"/>
              <a:gd name="connsiteY238" fmla="*/ 943844 h 3357396"/>
              <a:gd name="connsiteX239" fmla="*/ 1594716 w 3859699"/>
              <a:gd name="connsiteY239" fmla="*/ 939264 h 3357396"/>
              <a:gd name="connsiteX240" fmla="*/ 1597290 w 3859699"/>
              <a:gd name="connsiteY240" fmla="*/ 1349956 h 3357396"/>
              <a:gd name="connsiteX241" fmla="*/ 1597290 w 3859699"/>
              <a:gd name="connsiteY241" fmla="*/ 1349853 h 3357396"/>
              <a:gd name="connsiteX242" fmla="*/ 1593069 w 3859699"/>
              <a:gd name="connsiteY242" fmla="*/ 1197272 h 3357396"/>
              <a:gd name="connsiteX243" fmla="*/ 1594716 w 3859699"/>
              <a:gd name="connsiteY243" fmla="*/ 939264 h 3357396"/>
              <a:gd name="connsiteX244" fmla="*/ 1513792 w 3859699"/>
              <a:gd name="connsiteY244" fmla="*/ 661283 h 3357396"/>
              <a:gd name="connsiteX245" fmla="*/ 1529646 w 3859699"/>
              <a:gd name="connsiteY245" fmla="*/ 797597 h 3357396"/>
              <a:gd name="connsiteX246" fmla="*/ 1537678 w 3859699"/>
              <a:gd name="connsiteY246" fmla="*/ 804494 h 3357396"/>
              <a:gd name="connsiteX247" fmla="*/ 1545708 w 3859699"/>
              <a:gd name="connsiteY247" fmla="*/ 797597 h 3357396"/>
              <a:gd name="connsiteX248" fmla="*/ 1548076 w 3859699"/>
              <a:gd name="connsiteY248" fmla="*/ 780609 h 3357396"/>
              <a:gd name="connsiteX249" fmla="*/ 1545502 w 3859699"/>
              <a:gd name="connsiteY249" fmla="*/ 870490 h 3357396"/>
              <a:gd name="connsiteX250" fmla="*/ 1544267 w 3859699"/>
              <a:gd name="connsiteY250" fmla="*/ 870489 h 3357396"/>
              <a:gd name="connsiteX251" fmla="*/ 1533972 w 3859699"/>
              <a:gd name="connsiteY251" fmla="*/ 1008965 h 3357396"/>
              <a:gd name="connsiteX252" fmla="*/ 1526662 w 3859699"/>
              <a:gd name="connsiteY252" fmla="*/ 880167 h 3357396"/>
              <a:gd name="connsiteX253" fmla="*/ 1513792 w 3859699"/>
              <a:gd name="connsiteY253" fmla="*/ 661283 h 3357396"/>
              <a:gd name="connsiteX254" fmla="*/ 1135016 w 3859699"/>
              <a:gd name="connsiteY254" fmla="*/ 705451 h 3357396"/>
              <a:gd name="connsiteX255" fmla="*/ 1235914 w 3859699"/>
              <a:gd name="connsiteY255" fmla="*/ 944206 h 3357396"/>
              <a:gd name="connsiteX256" fmla="*/ 1332589 w 3859699"/>
              <a:gd name="connsiteY256" fmla="*/ 1174725 h 3357396"/>
              <a:gd name="connsiteX257" fmla="*/ 1135016 w 3859699"/>
              <a:gd name="connsiteY257" fmla="*/ 705451 h 3357396"/>
              <a:gd name="connsiteX258" fmla="*/ 308176 w 3859699"/>
              <a:gd name="connsiteY258" fmla="*/ 823130 h 3357396"/>
              <a:gd name="connsiteX259" fmla="*/ 552181 w 3859699"/>
              <a:gd name="connsiteY259" fmla="*/ 1003097 h 3357396"/>
              <a:gd name="connsiteX260" fmla="*/ 998702 w 3859699"/>
              <a:gd name="connsiteY260" fmla="*/ 1305788 h 3357396"/>
              <a:gd name="connsiteX261" fmla="*/ 836443 w 3859699"/>
              <a:gd name="connsiteY261" fmla="*/ 1214261 h 3357396"/>
              <a:gd name="connsiteX262" fmla="*/ 827899 w 3859699"/>
              <a:gd name="connsiteY262" fmla="*/ 1208289 h 3357396"/>
              <a:gd name="connsiteX263" fmla="*/ 764786 w 3859699"/>
              <a:gd name="connsiteY263" fmla="*/ 1166076 h 3357396"/>
              <a:gd name="connsiteX264" fmla="*/ 308176 w 3859699"/>
              <a:gd name="connsiteY264" fmla="*/ 823130 h 3357396"/>
              <a:gd name="connsiteX265" fmla="*/ 1555284 w 3859699"/>
              <a:gd name="connsiteY265" fmla="*/ 71961 h 3357396"/>
              <a:gd name="connsiteX266" fmla="*/ 1557137 w 3859699"/>
              <a:gd name="connsiteY266" fmla="*/ 256252 h 3357396"/>
              <a:gd name="connsiteX267" fmla="*/ 1557754 w 3859699"/>
              <a:gd name="connsiteY267" fmla="*/ 373211 h 3357396"/>
              <a:gd name="connsiteX268" fmla="*/ 1551166 w 3859699"/>
              <a:gd name="connsiteY268" fmla="*/ 289405 h 3357396"/>
              <a:gd name="connsiteX269" fmla="*/ 1542825 w 3859699"/>
              <a:gd name="connsiteY269" fmla="*/ 282095 h 3357396"/>
              <a:gd name="connsiteX270" fmla="*/ 1534898 w 3859699"/>
              <a:gd name="connsiteY270" fmla="*/ 289919 h 3357396"/>
              <a:gd name="connsiteX271" fmla="*/ 1536957 w 3859699"/>
              <a:gd name="connsiteY271" fmla="*/ 481830 h 3357396"/>
              <a:gd name="connsiteX272" fmla="*/ 1536956 w 3859699"/>
              <a:gd name="connsiteY272" fmla="*/ 728925 h 3357396"/>
              <a:gd name="connsiteX273" fmla="*/ 1555284 w 3859699"/>
              <a:gd name="connsiteY273" fmla="*/ 71961 h 3357396"/>
              <a:gd name="connsiteX274" fmla="*/ 693540 w 3859699"/>
              <a:gd name="connsiteY274" fmla="*/ 231441 h 3357396"/>
              <a:gd name="connsiteX275" fmla="*/ 689834 w 3859699"/>
              <a:gd name="connsiteY275" fmla="*/ 238235 h 3357396"/>
              <a:gd name="connsiteX276" fmla="*/ 689834 w 3859699"/>
              <a:gd name="connsiteY276" fmla="*/ 269122 h 3357396"/>
              <a:gd name="connsiteX277" fmla="*/ 690658 w 3859699"/>
              <a:gd name="connsiteY277" fmla="*/ 272623 h 3357396"/>
              <a:gd name="connsiteX278" fmla="*/ 721338 w 3859699"/>
              <a:gd name="connsiteY278" fmla="*/ 333469 h 3357396"/>
              <a:gd name="connsiteX279" fmla="*/ 1034016 w 3859699"/>
              <a:gd name="connsiteY279" fmla="*/ 1003303 h 3357396"/>
              <a:gd name="connsiteX280" fmla="*/ 1051313 w 3859699"/>
              <a:gd name="connsiteY280" fmla="*/ 1031924 h 3357396"/>
              <a:gd name="connsiteX281" fmla="*/ 1053268 w 3859699"/>
              <a:gd name="connsiteY281" fmla="*/ 1034190 h 3357396"/>
              <a:gd name="connsiteX282" fmla="*/ 1161578 w 3859699"/>
              <a:gd name="connsiteY282" fmla="*/ 1158458 h 3357396"/>
              <a:gd name="connsiteX283" fmla="*/ 1270609 w 3859699"/>
              <a:gd name="connsiteY283" fmla="*/ 1279740 h 3357396"/>
              <a:gd name="connsiteX284" fmla="*/ 1278434 w 3859699"/>
              <a:gd name="connsiteY284" fmla="*/ 1273769 h 3357396"/>
              <a:gd name="connsiteX285" fmla="*/ 1281831 w 3859699"/>
              <a:gd name="connsiteY285" fmla="*/ 1261620 h 3357396"/>
              <a:gd name="connsiteX286" fmla="*/ 1281831 w 3859699"/>
              <a:gd name="connsiteY286" fmla="*/ 1256781 h 3357396"/>
              <a:gd name="connsiteX287" fmla="*/ 1209762 w 3859699"/>
              <a:gd name="connsiteY287" fmla="*/ 1142912 h 3357396"/>
              <a:gd name="connsiteX288" fmla="*/ 1169403 w 3859699"/>
              <a:gd name="connsiteY288" fmla="*/ 1088448 h 3357396"/>
              <a:gd name="connsiteX289" fmla="*/ 926530 w 3859699"/>
              <a:gd name="connsiteY289" fmla="*/ 711629 h 3357396"/>
              <a:gd name="connsiteX290" fmla="*/ 893173 w 3859699"/>
              <a:gd name="connsiteY290" fmla="*/ 654487 h 3357396"/>
              <a:gd name="connsiteX291" fmla="*/ 769625 w 3859699"/>
              <a:gd name="connsiteY291" fmla="*/ 374961 h 3357396"/>
              <a:gd name="connsiteX292" fmla="*/ 701262 w 3859699"/>
              <a:gd name="connsiteY292" fmla="*/ 230822 h 3357396"/>
              <a:gd name="connsiteX293" fmla="*/ 693540 w 3859699"/>
              <a:gd name="connsiteY293" fmla="*/ 231441 h 3357396"/>
              <a:gd name="connsiteX294" fmla="*/ 233327 w 3859699"/>
              <a:gd name="connsiteY294" fmla="*/ 166165 h 3357396"/>
              <a:gd name="connsiteX295" fmla="*/ 229311 w 3859699"/>
              <a:gd name="connsiteY295" fmla="*/ 176461 h 3357396"/>
              <a:gd name="connsiteX296" fmla="*/ 840047 w 3859699"/>
              <a:gd name="connsiteY296" fmla="*/ 1042735 h 3357396"/>
              <a:gd name="connsiteX297" fmla="*/ 870934 w 3859699"/>
              <a:gd name="connsiteY297" fmla="*/ 1075886 h 3357396"/>
              <a:gd name="connsiteX298" fmla="*/ 404130 w 3859699"/>
              <a:gd name="connsiteY298" fmla="*/ 528880 h 3357396"/>
              <a:gd name="connsiteX299" fmla="*/ 232503 w 3859699"/>
              <a:gd name="connsiteY299" fmla="*/ 305466 h 3357396"/>
              <a:gd name="connsiteX300" fmla="*/ 221060 w 3859699"/>
              <a:gd name="connsiteY300" fmla="*/ 304286 h 3357396"/>
              <a:gd name="connsiteX301" fmla="*/ 218809 w 3859699"/>
              <a:gd name="connsiteY301" fmla="*/ 314011 h 3357396"/>
              <a:gd name="connsiteX302" fmla="*/ 1074890 w 3859699"/>
              <a:gd name="connsiteY302" fmla="*/ 1319481 h 3357396"/>
              <a:gd name="connsiteX303" fmla="*/ 196160 w 3859699"/>
              <a:gd name="connsiteY303" fmla="*/ 477814 h 3357396"/>
              <a:gd name="connsiteX304" fmla="*/ 83525 w 3859699"/>
              <a:gd name="connsiteY304" fmla="*/ 338103 h 3357396"/>
              <a:gd name="connsiteX305" fmla="*/ 74774 w 3859699"/>
              <a:gd name="connsiteY305" fmla="*/ 335529 h 3357396"/>
              <a:gd name="connsiteX306" fmla="*/ 64478 w 3859699"/>
              <a:gd name="connsiteY306" fmla="*/ 345825 h 3357396"/>
              <a:gd name="connsiteX307" fmla="*/ 438415 w 3859699"/>
              <a:gd name="connsiteY307" fmla="*/ 848456 h 3357396"/>
              <a:gd name="connsiteX308" fmla="*/ 521913 w 3859699"/>
              <a:gd name="connsiteY308" fmla="*/ 947501 h 3357396"/>
              <a:gd name="connsiteX309" fmla="*/ 343387 w 3859699"/>
              <a:gd name="connsiteY309" fmla="*/ 803362 h 3357396"/>
              <a:gd name="connsiteX310" fmla="*/ 59331 w 3859699"/>
              <a:gd name="connsiteY310" fmla="*/ 584477 h 3357396"/>
              <a:gd name="connsiteX311" fmla="*/ 49035 w 3859699"/>
              <a:gd name="connsiteY311" fmla="*/ 585918 h 3357396"/>
              <a:gd name="connsiteX312" fmla="*/ 49035 w 3859699"/>
              <a:gd name="connsiteY312" fmla="*/ 596214 h 3357396"/>
              <a:gd name="connsiteX313" fmla="*/ 1343606 w 3859699"/>
              <a:gd name="connsiteY313" fmla="*/ 1459811 h 3357396"/>
              <a:gd name="connsiteX314" fmla="*/ 1356784 w 3859699"/>
              <a:gd name="connsiteY314" fmla="*/ 1471856 h 3357396"/>
              <a:gd name="connsiteX315" fmla="*/ 1358329 w 3859699"/>
              <a:gd name="connsiteY315" fmla="*/ 1474018 h 3357396"/>
              <a:gd name="connsiteX316" fmla="*/ 39151 w 3859699"/>
              <a:gd name="connsiteY316" fmla="*/ 853089 h 3357396"/>
              <a:gd name="connsiteX317" fmla="*/ 14853 w 3859699"/>
              <a:gd name="connsiteY317" fmla="*/ 837544 h 3357396"/>
              <a:gd name="connsiteX318" fmla="*/ 5999 w 3859699"/>
              <a:gd name="connsiteY318" fmla="*/ 837544 h 3357396"/>
              <a:gd name="connsiteX319" fmla="*/ 234 w 3859699"/>
              <a:gd name="connsiteY319" fmla="*/ 851134 h 3357396"/>
              <a:gd name="connsiteX320" fmla="*/ 1236428 w 3859699"/>
              <a:gd name="connsiteY320" fmla="*/ 1489462 h 3357396"/>
              <a:gd name="connsiteX321" fmla="*/ 532826 w 3859699"/>
              <a:gd name="connsiteY321" fmla="*/ 1384035 h 3357396"/>
              <a:gd name="connsiteX322" fmla="*/ 384878 w 3859699"/>
              <a:gd name="connsiteY322" fmla="*/ 1345323 h 3357396"/>
              <a:gd name="connsiteX323" fmla="*/ 377054 w 3859699"/>
              <a:gd name="connsiteY323" fmla="*/ 1347485 h 3357396"/>
              <a:gd name="connsiteX324" fmla="*/ 374994 w 3859699"/>
              <a:gd name="connsiteY324" fmla="*/ 1355310 h 3357396"/>
              <a:gd name="connsiteX325" fmla="*/ 631766 w 3859699"/>
              <a:gd name="connsiteY325" fmla="*/ 1464753 h 3357396"/>
              <a:gd name="connsiteX326" fmla="*/ 771685 w 3859699"/>
              <a:gd name="connsiteY326" fmla="*/ 1514171 h 3357396"/>
              <a:gd name="connsiteX327" fmla="*/ 781979 w 3859699"/>
              <a:gd name="connsiteY327" fmla="*/ 1520246 h 3357396"/>
              <a:gd name="connsiteX328" fmla="*/ 453446 w 3859699"/>
              <a:gd name="connsiteY328" fmla="*/ 1533733 h 3357396"/>
              <a:gd name="connsiteX329" fmla="*/ 198527 w 3859699"/>
              <a:gd name="connsiteY329" fmla="*/ 1547941 h 3357396"/>
              <a:gd name="connsiteX330" fmla="*/ 198527 w 3859699"/>
              <a:gd name="connsiteY330" fmla="*/ 1558237 h 3357396"/>
              <a:gd name="connsiteX331" fmla="*/ 205014 w 3859699"/>
              <a:gd name="connsiteY331" fmla="*/ 1562253 h 3357396"/>
              <a:gd name="connsiteX332" fmla="*/ 937752 w 3859699"/>
              <a:gd name="connsiteY332" fmla="*/ 1578313 h 3357396"/>
              <a:gd name="connsiteX333" fmla="*/ 1291510 w 3859699"/>
              <a:gd name="connsiteY333" fmla="*/ 1584490 h 3357396"/>
              <a:gd name="connsiteX334" fmla="*/ 1281214 w 3859699"/>
              <a:gd name="connsiteY334" fmla="*/ 1586344 h 3357396"/>
              <a:gd name="connsiteX335" fmla="*/ 1190510 w 3859699"/>
              <a:gd name="connsiteY335" fmla="*/ 1609611 h 3357396"/>
              <a:gd name="connsiteX336" fmla="*/ 1186288 w 3859699"/>
              <a:gd name="connsiteY336" fmla="*/ 1615686 h 3357396"/>
              <a:gd name="connsiteX337" fmla="*/ 645357 w 3859699"/>
              <a:gd name="connsiteY337" fmla="*/ 1592933 h 3357396"/>
              <a:gd name="connsiteX338" fmla="*/ 635171 w 3859699"/>
              <a:gd name="connsiteY338" fmla="*/ 1598277 h 3357396"/>
              <a:gd name="connsiteX339" fmla="*/ 637841 w 3859699"/>
              <a:gd name="connsiteY339" fmla="*/ 1607038 h 3357396"/>
              <a:gd name="connsiteX340" fmla="*/ 1208630 w 3859699"/>
              <a:gd name="connsiteY340" fmla="*/ 1660679 h 3357396"/>
              <a:gd name="connsiteX341" fmla="*/ 296336 w 3859699"/>
              <a:gd name="connsiteY341" fmla="*/ 1765693 h 3357396"/>
              <a:gd name="connsiteX342" fmla="*/ 288821 w 3859699"/>
              <a:gd name="connsiteY342" fmla="*/ 1770326 h 3357396"/>
              <a:gd name="connsiteX343" fmla="*/ 290158 w 3859699"/>
              <a:gd name="connsiteY343" fmla="*/ 1788447 h 3357396"/>
              <a:gd name="connsiteX344" fmla="*/ 1306130 w 3859699"/>
              <a:gd name="connsiteY344" fmla="*/ 1694756 h 3357396"/>
              <a:gd name="connsiteX345" fmla="*/ 1464991 w 3859699"/>
              <a:gd name="connsiteY345" fmla="*/ 1671179 h 3357396"/>
              <a:gd name="connsiteX346" fmla="*/ 1082612 w 3859699"/>
              <a:gd name="connsiteY346" fmla="*/ 1815318 h 3357396"/>
              <a:gd name="connsiteX347" fmla="*/ 197189 w 3859699"/>
              <a:gd name="connsiteY347" fmla="*/ 2194712 h 3357396"/>
              <a:gd name="connsiteX348" fmla="*/ 193894 w 3859699"/>
              <a:gd name="connsiteY348" fmla="*/ 2205007 h 3357396"/>
              <a:gd name="connsiteX349" fmla="*/ 204190 w 3859699"/>
              <a:gd name="connsiteY349" fmla="*/ 2209537 h 3357396"/>
              <a:gd name="connsiteX350" fmla="*/ 1027016 w 3859699"/>
              <a:gd name="connsiteY350" fmla="*/ 1897683 h 3357396"/>
              <a:gd name="connsiteX351" fmla="*/ 1411557 w 3859699"/>
              <a:gd name="connsiteY351" fmla="*/ 1740263 h 3357396"/>
              <a:gd name="connsiteX352" fmla="*/ 987687 w 3859699"/>
              <a:gd name="connsiteY352" fmla="*/ 1956472 h 3357396"/>
              <a:gd name="connsiteX353" fmla="*/ 450254 w 3859699"/>
              <a:gd name="connsiteY353" fmla="*/ 2242483 h 3357396"/>
              <a:gd name="connsiteX354" fmla="*/ 448146 w 3859699"/>
              <a:gd name="connsiteY354" fmla="*/ 2253790 h 3357396"/>
              <a:gd name="connsiteX355" fmla="*/ 456741 w 3859699"/>
              <a:gd name="connsiteY355" fmla="*/ 2257104 h 3357396"/>
              <a:gd name="connsiteX356" fmla="*/ 932605 w 3859699"/>
              <a:gd name="connsiteY356" fmla="*/ 2025349 h 3357396"/>
              <a:gd name="connsiteX357" fmla="*/ 1600482 w 3859699"/>
              <a:gd name="connsiteY357" fmla="*/ 1713804 h 3357396"/>
              <a:gd name="connsiteX358" fmla="*/ 1695921 w 3859699"/>
              <a:gd name="connsiteY358" fmla="*/ 1723584 h 3357396"/>
              <a:gd name="connsiteX359" fmla="*/ 1929426 w 3859699"/>
              <a:gd name="connsiteY359" fmla="*/ 1782887 h 3357396"/>
              <a:gd name="connsiteX360" fmla="*/ 1961960 w 3859699"/>
              <a:gd name="connsiteY360" fmla="*/ 1860001 h 3357396"/>
              <a:gd name="connsiteX361" fmla="*/ 2053901 w 3859699"/>
              <a:gd name="connsiteY361" fmla="*/ 2064163 h 3357396"/>
              <a:gd name="connsiteX362" fmla="*/ 1902658 w 3859699"/>
              <a:gd name="connsiteY362" fmla="*/ 1994873 h 3357396"/>
              <a:gd name="connsiteX363" fmla="*/ 1691700 w 3859699"/>
              <a:gd name="connsiteY363" fmla="*/ 1913127 h 3357396"/>
              <a:gd name="connsiteX364" fmla="*/ 1682726 w 3859699"/>
              <a:gd name="connsiteY364" fmla="*/ 1920321 h 3357396"/>
              <a:gd name="connsiteX365" fmla="*/ 1685832 w 3859699"/>
              <a:gd name="connsiteY365" fmla="*/ 1927644 h 3357396"/>
              <a:gd name="connsiteX366" fmla="*/ 2036707 w 3859699"/>
              <a:gd name="connsiteY366" fmla="*/ 2094124 h 3357396"/>
              <a:gd name="connsiteX367" fmla="*/ 1211101 w 3859699"/>
              <a:gd name="connsiteY367" fmla="*/ 2345543 h 3357396"/>
              <a:gd name="connsiteX368" fmla="*/ 1211822 w 3859699"/>
              <a:gd name="connsiteY368" fmla="*/ 2355118 h 3357396"/>
              <a:gd name="connsiteX369" fmla="*/ 1221191 w 3859699"/>
              <a:gd name="connsiteY369" fmla="*/ 2357382 h 3357396"/>
              <a:gd name="connsiteX370" fmla="*/ 2035059 w 3859699"/>
              <a:gd name="connsiteY370" fmla="*/ 2144675 h 3357396"/>
              <a:gd name="connsiteX371" fmla="*/ 1368521 w 3859699"/>
              <a:gd name="connsiteY371" fmla="*/ 2622289 h 3357396"/>
              <a:gd name="connsiteX372" fmla="*/ 1366771 w 3859699"/>
              <a:gd name="connsiteY372" fmla="*/ 2630216 h 3357396"/>
              <a:gd name="connsiteX373" fmla="*/ 1372639 w 3859699"/>
              <a:gd name="connsiteY373" fmla="*/ 2635673 h 3357396"/>
              <a:gd name="connsiteX374" fmla="*/ 1693862 w 3859699"/>
              <a:gd name="connsiteY374" fmla="*/ 2410611 h 3357396"/>
              <a:gd name="connsiteX375" fmla="*/ 2110731 w 3859699"/>
              <a:gd name="connsiteY375" fmla="*/ 2164443 h 3357396"/>
              <a:gd name="connsiteX376" fmla="*/ 2110731 w 3859699"/>
              <a:gd name="connsiteY376" fmla="*/ 2169178 h 3357396"/>
              <a:gd name="connsiteX377" fmla="*/ 2056165 w 3859699"/>
              <a:gd name="connsiteY377" fmla="*/ 2194094 h 3357396"/>
              <a:gd name="connsiteX378" fmla="*/ 2006334 w 3859699"/>
              <a:gd name="connsiteY378" fmla="*/ 2223951 h 3357396"/>
              <a:gd name="connsiteX379" fmla="*/ 2009628 w 3859699"/>
              <a:gd name="connsiteY379" fmla="*/ 2238365 h 3357396"/>
              <a:gd name="connsiteX380" fmla="*/ 2035574 w 3859699"/>
              <a:gd name="connsiteY380" fmla="*/ 2238879 h 3357396"/>
              <a:gd name="connsiteX381" fmla="*/ 2070888 w 3859699"/>
              <a:gd name="connsiteY381" fmla="*/ 2232702 h 3357396"/>
              <a:gd name="connsiteX382" fmla="*/ 2076550 w 3859699"/>
              <a:gd name="connsiteY382" fmla="*/ 2246292 h 3357396"/>
              <a:gd name="connsiteX383" fmla="*/ 2149340 w 3859699"/>
              <a:gd name="connsiteY383" fmla="*/ 2213758 h 3357396"/>
              <a:gd name="connsiteX384" fmla="*/ 2163651 w 3859699"/>
              <a:gd name="connsiteY384" fmla="*/ 2203463 h 3357396"/>
              <a:gd name="connsiteX385" fmla="*/ 2187125 w 3859699"/>
              <a:gd name="connsiteY385" fmla="*/ 2207170 h 3357396"/>
              <a:gd name="connsiteX386" fmla="*/ 2188052 w 3859699"/>
              <a:gd name="connsiteY386" fmla="*/ 2186579 h 3357396"/>
              <a:gd name="connsiteX387" fmla="*/ 2188052 w 3859699"/>
              <a:gd name="connsiteY387" fmla="*/ 2153529 h 3357396"/>
              <a:gd name="connsiteX388" fmla="*/ 2263210 w 3859699"/>
              <a:gd name="connsiteY388" fmla="*/ 2138600 h 3357396"/>
              <a:gd name="connsiteX389" fmla="*/ 2216056 w 3859699"/>
              <a:gd name="connsiteY389" fmla="*/ 2173194 h 3357396"/>
              <a:gd name="connsiteX390" fmla="*/ 2220483 w 3859699"/>
              <a:gd name="connsiteY390" fmla="*/ 2186063 h 3357396"/>
              <a:gd name="connsiteX391" fmla="*/ 2274227 w 3859699"/>
              <a:gd name="connsiteY391" fmla="*/ 2184211 h 3357396"/>
              <a:gd name="connsiteX392" fmla="*/ 2260430 w 3859699"/>
              <a:gd name="connsiteY392" fmla="*/ 2209022 h 3357396"/>
              <a:gd name="connsiteX393" fmla="*/ 2340735 w 3859699"/>
              <a:gd name="connsiteY393" fmla="*/ 2173708 h 3357396"/>
              <a:gd name="connsiteX394" fmla="*/ 2537382 w 3859699"/>
              <a:gd name="connsiteY394" fmla="*/ 2068076 h 3357396"/>
              <a:gd name="connsiteX395" fmla="*/ 1780037 w 3859699"/>
              <a:gd name="connsiteY395" fmla="*/ 2626407 h 3357396"/>
              <a:gd name="connsiteX396" fmla="*/ 1780964 w 3859699"/>
              <a:gd name="connsiteY396" fmla="*/ 2636703 h 3357396"/>
              <a:gd name="connsiteX397" fmla="*/ 1791259 w 3859699"/>
              <a:gd name="connsiteY397" fmla="*/ 2637732 h 3357396"/>
              <a:gd name="connsiteX398" fmla="*/ 2055958 w 3859699"/>
              <a:gd name="connsiteY398" fmla="*/ 2441189 h 3357396"/>
              <a:gd name="connsiteX399" fmla="*/ 2614290 w 3859699"/>
              <a:gd name="connsiteY399" fmla="*/ 2080842 h 3357396"/>
              <a:gd name="connsiteX400" fmla="*/ 2123087 w 3859699"/>
              <a:gd name="connsiteY400" fmla="*/ 2544145 h 3357396"/>
              <a:gd name="connsiteX401" fmla="*/ 2031662 w 3859699"/>
              <a:gd name="connsiteY401" fmla="*/ 2615287 h 3357396"/>
              <a:gd name="connsiteX402" fmla="*/ 2029911 w 3859699"/>
              <a:gd name="connsiteY402" fmla="*/ 2623833 h 3357396"/>
              <a:gd name="connsiteX403" fmla="*/ 2037015 w 3859699"/>
              <a:gd name="connsiteY403" fmla="*/ 2628981 h 3357396"/>
              <a:gd name="connsiteX404" fmla="*/ 2038148 w 3859699"/>
              <a:gd name="connsiteY404" fmla="*/ 2628981 h 3357396"/>
              <a:gd name="connsiteX405" fmla="*/ 2041649 w 3859699"/>
              <a:gd name="connsiteY405" fmla="*/ 2631555 h 3357396"/>
              <a:gd name="connsiteX406" fmla="*/ 2048031 w 3859699"/>
              <a:gd name="connsiteY406" fmla="*/ 2631555 h 3357396"/>
              <a:gd name="connsiteX407" fmla="*/ 2362460 w 3859699"/>
              <a:gd name="connsiteY407" fmla="*/ 2418332 h 3357396"/>
              <a:gd name="connsiteX408" fmla="*/ 2426705 w 3859699"/>
              <a:gd name="connsiteY408" fmla="*/ 2364692 h 3357396"/>
              <a:gd name="connsiteX409" fmla="*/ 2277418 w 3859699"/>
              <a:gd name="connsiteY409" fmla="*/ 2678914 h 3357396"/>
              <a:gd name="connsiteX410" fmla="*/ 2280684 w 3859699"/>
              <a:gd name="connsiteY410" fmla="*/ 2689944 h 3357396"/>
              <a:gd name="connsiteX411" fmla="*/ 2289567 w 3859699"/>
              <a:gd name="connsiteY411" fmla="*/ 2689211 h 3357396"/>
              <a:gd name="connsiteX412" fmla="*/ 2307173 w 3859699"/>
              <a:gd name="connsiteY412" fmla="*/ 2674487 h 3357396"/>
              <a:gd name="connsiteX413" fmla="*/ 2149238 w 3859699"/>
              <a:gd name="connsiteY413" fmla="*/ 2867325 h 3357396"/>
              <a:gd name="connsiteX414" fmla="*/ 2150575 w 3859699"/>
              <a:gd name="connsiteY414" fmla="*/ 2877621 h 3357396"/>
              <a:gd name="connsiteX415" fmla="*/ 2173535 w 3859699"/>
              <a:gd name="connsiteY415" fmla="*/ 2886269 h 3357396"/>
              <a:gd name="connsiteX416" fmla="*/ 2245605 w 3859699"/>
              <a:gd name="connsiteY416" fmla="*/ 2820273 h 3357396"/>
              <a:gd name="connsiteX417" fmla="*/ 2224293 w 3859699"/>
              <a:gd name="connsiteY417" fmla="*/ 2887607 h 3357396"/>
              <a:gd name="connsiteX418" fmla="*/ 2117425 w 3859699"/>
              <a:gd name="connsiteY418" fmla="*/ 3348748 h 3357396"/>
              <a:gd name="connsiteX419" fmla="*/ 2123910 w 3859699"/>
              <a:gd name="connsiteY419" fmla="*/ 3357396 h 3357396"/>
              <a:gd name="connsiteX420" fmla="*/ 2126897 w 3859699"/>
              <a:gd name="connsiteY420" fmla="*/ 3357396 h 3357396"/>
              <a:gd name="connsiteX421" fmla="*/ 2134618 w 3859699"/>
              <a:gd name="connsiteY421" fmla="*/ 3351836 h 3357396"/>
              <a:gd name="connsiteX422" fmla="*/ 2193405 w 3859699"/>
              <a:gd name="connsiteY422" fmla="*/ 3161161 h 3357396"/>
              <a:gd name="connsiteX423" fmla="*/ 2554885 w 3859699"/>
              <a:gd name="connsiteY423" fmla="*/ 2464972 h 3357396"/>
              <a:gd name="connsiteX424" fmla="*/ 2688728 w 3859699"/>
              <a:gd name="connsiteY424" fmla="*/ 2265236 h 3357396"/>
              <a:gd name="connsiteX425" fmla="*/ 2691507 w 3859699"/>
              <a:gd name="connsiteY425" fmla="*/ 2259883 h 3357396"/>
              <a:gd name="connsiteX426" fmla="*/ 2591228 w 3859699"/>
              <a:gd name="connsiteY426" fmla="*/ 2523245 h 3357396"/>
              <a:gd name="connsiteX427" fmla="*/ 2584022 w 3859699"/>
              <a:gd name="connsiteY427" fmla="*/ 2532023 h 3357396"/>
              <a:gd name="connsiteX428" fmla="*/ 2588551 w 3859699"/>
              <a:gd name="connsiteY428" fmla="*/ 2538483 h 3357396"/>
              <a:gd name="connsiteX429" fmla="*/ 2601112 w 3859699"/>
              <a:gd name="connsiteY429" fmla="*/ 2538482 h 3357396"/>
              <a:gd name="connsiteX430" fmla="*/ 2612540 w 3859699"/>
              <a:gd name="connsiteY430" fmla="*/ 2529629 h 3357396"/>
              <a:gd name="connsiteX431" fmla="*/ 2437000 w 3859699"/>
              <a:gd name="connsiteY431" fmla="*/ 2812346 h 3357396"/>
              <a:gd name="connsiteX432" fmla="*/ 2267226 w 3859699"/>
              <a:gd name="connsiteY432" fmla="*/ 3100109 h 3357396"/>
              <a:gd name="connsiteX433" fmla="*/ 2271855 w 3859699"/>
              <a:gd name="connsiteY433" fmla="*/ 3110639 h 3357396"/>
              <a:gd name="connsiteX434" fmla="*/ 2281537 w 3859699"/>
              <a:gd name="connsiteY434" fmla="*/ 3107624 h 3357396"/>
              <a:gd name="connsiteX435" fmla="*/ 2340839 w 3859699"/>
              <a:gd name="connsiteY435" fmla="*/ 3024023 h 3357396"/>
              <a:gd name="connsiteX436" fmla="*/ 2756781 w 3859699"/>
              <a:gd name="connsiteY436" fmla="*/ 2176591 h 3357396"/>
              <a:gd name="connsiteX437" fmla="*/ 2756782 w 3859699"/>
              <a:gd name="connsiteY437" fmla="*/ 2174532 h 3357396"/>
              <a:gd name="connsiteX438" fmla="*/ 2759047 w 3859699"/>
              <a:gd name="connsiteY438" fmla="*/ 2132217 h 3357396"/>
              <a:gd name="connsiteX439" fmla="*/ 3492712 w 3859699"/>
              <a:gd name="connsiteY439" fmla="*/ 2296948 h 3357396"/>
              <a:gd name="connsiteX440" fmla="*/ 3844205 w 3859699"/>
              <a:gd name="connsiteY440" fmla="*/ 2387754 h 3357396"/>
              <a:gd name="connsiteX441" fmla="*/ 3845336 w 3859699"/>
              <a:gd name="connsiteY441" fmla="*/ 2302713 h 3357396"/>
              <a:gd name="connsiteX442" fmla="*/ 3841218 w 3859699"/>
              <a:gd name="connsiteY442" fmla="*/ 2298388 h 3357396"/>
              <a:gd name="connsiteX443" fmla="*/ 3492299 w 3859699"/>
              <a:gd name="connsiteY443" fmla="*/ 2224878 h 3357396"/>
              <a:gd name="connsiteX444" fmla="*/ 3181784 w 3859699"/>
              <a:gd name="connsiteY444" fmla="*/ 2090520 h 3357396"/>
              <a:gd name="connsiteX445" fmla="*/ 3227086 w 3859699"/>
              <a:gd name="connsiteY445" fmla="*/ 1968620 h 3357396"/>
              <a:gd name="connsiteX446" fmla="*/ 3542337 w 3859699"/>
              <a:gd name="connsiteY446" fmla="*/ 671372 h 3357396"/>
              <a:gd name="connsiteX447" fmla="*/ 3534596 w 3859699"/>
              <a:gd name="connsiteY447" fmla="*/ 662864 h 3357396"/>
              <a:gd name="connsiteX448" fmla="*/ 3526276 w 3859699"/>
              <a:gd name="connsiteY448" fmla="*/ 669210 h 3357396"/>
              <a:gd name="connsiteX449" fmla="*/ 3469857 w 3859699"/>
              <a:gd name="connsiteY449" fmla="*/ 943073 h 3357396"/>
              <a:gd name="connsiteX450" fmla="*/ 3175710 w 3859699"/>
              <a:gd name="connsiteY450" fmla="*/ 1935469 h 3357396"/>
              <a:gd name="connsiteX451" fmla="*/ 3122379 w 3859699"/>
              <a:gd name="connsiteY451" fmla="*/ 2086196 h 3357396"/>
              <a:gd name="connsiteX452" fmla="*/ 3012422 w 3859699"/>
              <a:gd name="connsiteY452" fmla="*/ 2051911 h 3357396"/>
              <a:gd name="connsiteX453" fmla="*/ 2941692 w 3859699"/>
              <a:gd name="connsiteY453" fmla="*/ 2025966 h 3357396"/>
              <a:gd name="connsiteX454" fmla="*/ 3107348 w 3859699"/>
              <a:gd name="connsiteY454" fmla="*/ 1826849 h 3357396"/>
              <a:gd name="connsiteX455" fmla="*/ 3372357 w 3859699"/>
              <a:gd name="connsiteY455" fmla="*/ 1030483 h 3357396"/>
              <a:gd name="connsiteX456" fmla="*/ 3364120 w 3859699"/>
              <a:gd name="connsiteY456" fmla="*/ 1024820 h 3357396"/>
              <a:gd name="connsiteX457" fmla="*/ 3356604 w 3859699"/>
              <a:gd name="connsiteY457" fmla="*/ 1031307 h 3357396"/>
              <a:gd name="connsiteX458" fmla="*/ 3024365 w 3859699"/>
              <a:gd name="connsiteY458" fmla="*/ 1868958 h 3357396"/>
              <a:gd name="connsiteX459" fmla="*/ 2896390 w 3859699"/>
              <a:gd name="connsiteY459" fmla="*/ 2002184 h 3357396"/>
              <a:gd name="connsiteX460" fmla="*/ 2896906 w 3859699"/>
              <a:gd name="connsiteY460" fmla="*/ 2001257 h 3357396"/>
              <a:gd name="connsiteX461" fmla="*/ 3435366 w 3859699"/>
              <a:gd name="connsiteY461" fmla="*/ 796669 h 3357396"/>
              <a:gd name="connsiteX462" fmla="*/ 3448235 w 3859699"/>
              <a:gd name="connsiteY462" fmla="*/ 741382 h 3357396"/>
              <a:gd name="connsiteX463" fmla="*/ 3467283 w 3859699"/>
              <a:gd name="connsiteY463" fmla="*/ 677549 h 3357396"/>
              <a:gd name="connsiteX464" fmla="*/ 3465326 w 3859699"/>
              <a:gd name="connsiteY464" fmla="*/ 666327 h 3357396"/>
              <a:gd name="connsiteX465" fmla="*/ 3456575 w 3859699"/>
              <a:gd name="connsiteY465" fmla="*/ 659841 h 3357396"/>
              <a:gd name="connsiteX466" fmla="*/ 3445456 w 3859699"/>
              <a:gd name="connsiteY466" fmla="*/ 661076 h 3357396"/>
              <a:gd name="connsiteX467" fmla="*/ 3368033 w 3859699"/>
              <a:gd name="connsiteY467" fmla="*/ 820968 h 3357396"/>
              <a:gd name="connsiteX468" fmla="*/ 3363399 w 3859699"/>
              <a:gd name="connsiteY468" fmla="*/ 834043 h 3357396"/>
              <a:gd name="connsiteX469" fmla="*/ 2859841 w 3859699"/>
              <a:gd name="connsiteY469" fmla="*/ 1951014 h 3357396"/>
              <a:gd name="connsiteX470" fmla="*/ 2857164 w 3859699"/>
              <a:gd name="connsiteY470" fmla="*/ 1943498 h 3357396"/>
              <a:gd name="connsiteX471" fmla="*/ 2862312 w 3859699"/>
              <a:gd name="connsiteY471" fmla="*/ 1940513 h 3357396"/>
              <a:gd name="connsiteX472" fmla="*/ 2970210 w 3859699"/>
              <a:gd name="connsiteY472" fmla="*/ 1694344 h 3357396"/>
              <a:gd name="connsiteX473" fmla="*/ 3097257 w 3859699"/>
              <a:gd name="connsiteY473" fmla="*/ 1436233 h 3357396"/>
              <a:gd name="connsiteX474" fmla="*/ 3099419 w 3859699"/>
              <a:gd name="connsiteY474" fmla="*/ 1428100 h 3357396"/>
              <a:gd name="connsiteX475" fmla="*/ 3093242 w 3859699"/>
              <a:gd name="connsiteY475" fmla="*/ 1422437 h 3357396"/>
              <a:gd name="connsiteX476" fmla="*/ 3063694 w 3859699"/>
              <a:gd name="connsiteY476" fmla="*/ 1427174 h 3357396"/>
              <a:gd name="connsiteX477" fmla="*/ 3047633 w 3859699"/>
              <a:gd name="connsiteY477" fmla="*/ 1452501 h 3357396"/>
              <a:gd name="connsiteX478" fmla="*/ 3041558 w 3859699"/>
              <a:gd name="connsiteY478" fmla="*/ 1455384 h 3357396"/>
              <a:gd name="connsiteX479" fmla="*/ 3041558 w 3859699"/>
              <a:gd name="connsiteY479" fmla="*/ 1452191 h 3357396"/>
              <a:gd name="connsiteX480" fmla="*/ 3028895 w 3859699"/>
              <a:gd name="connsiteY480" fmla="*/ 1432527 h 3357396"/>
              <a:gd name="connsiteX481" fmla="*/ 3017615 w 3859699"/>
              <a:gd name="connsiteY481" fmla="*/ 1434775 h 3357396"/>
              <a:gd name="connsiteX482" fmla="*/ 3016746 w 3859699"/>
              <a:gd name="connsiteY482" fmla="*/ 1442102 h 3357396"/>
              <a:gd name="connsiteX483" fmla="*/ 3000170 w 3859699"/>
              <a:gd name="connsiteY483" fmla="*/ 1482461 h 3357396"/>
              <a:gd name="connsiteX484" fmla="*/ 2990390 w 3859699"/>
              <a:gd name="connsiteY484" fmla="*/ 1494404 h 3357396"/>
              <a:gd name="connsiteX485" fmla="*/ 3003259 w 3859699"/>
              <a:gd name="connsiteY485" fmla="*/ 1454045 h 3357396"/>
              <a:gd name="connsiteX486" fmla="*/ 3046912 w 3859699"/>
              <a:gd name="connsiteY486" fmla="*/ 1323188 h 3357396"/>
              <a:gd name="connsiteX487" fmla="*/ 3049795 w 3859699"/>
              <a:gd name="connsiteY487" fmla="*/ 1317010 h 3357396"/>
              <a:gd name="connsiteX488" fmla="*/ 3093654 w 3859699"/>
              <a:gd name="connsiteY488" fmla="*/ 1223114 h 3357396"/>
              <a:gd name="connsiteX489" fmla="*/ 3228732 w 3859699"/>
              <a:gd name="connsiteY489" fmla="*/ 917231 h 3357396"/>
              <a:gd name="connsiteX490" fmla="*/ 3228732 w 3859699"/>
              <a:gd name="connsiteY490" fmla="*/ 913628 h 3357396"/>
              <a:gd name="connsiteX491" fmla="*/ 3217511 w 3859699"/>
              <a:gd name="connsiteY491" fmla="*/ 899317 h 3357396"/>
              <a:gd name="connsiteX492" fmla="*/ 3127630 w 3859699"/>
              <a:gd name="connsiteY492" fmla="*/ 1053752 h 3357396"/>
              <a:gd name="connsiteX493" fmla="*/ 3045780 w 3859699"/>
              <a:gd name="connsiteY493" fmla="*/ 1218481 h 3357396"/>
              <a:gd name="connsiteX494" fmla="*/ 3044648 w 3859699"/>
              <a:gd name="connsiteY494" fmla="*/ 1221055 h 3357396"/>
              <a:gd name="connsiteX495" fmla="*/ 2962797 w 3859699"/>
              <a:gd name="connsiteY495" fmla="*/ 1362518 h 3357396"/>
              <a:gd name="connsiteX496" fmla="*/ 3138647 w 3859699"/>
              <a:gd name="connsiteY496" fmla="*/ 592920 h 3357396"/>
              <a:gd name="connsiteX497" fmla="*/ 3131851 w 3859699"/>
              <a:gd name="connsiteY497" fmla="*/ 584477 h 3357396"/>
              <a:gd name="connsiteX498" fmla="*/ 3122688 w 3859699"/>
              <a:gd name="connsiteY498" fmla="*/ 590139 h 3357396"/>
              <a:gd name="connsiteX499" fmla="*/ 3064312 w 3859699"/>
              <a:gd name="connsiteY499" fmla="*/ 888713 h 3357396"/>
              <a:gd name="connsiteX500" fmla="*/ 2900096 w 3859699"/>
              <a:gd name="connsiteY500" fmla="*/ 1408642 h 3357396"/>
              <a:gd name="connsiteX501" fmla="*/ 3000170 w 3859699"/>
              <a:gd name="connsiteY501" fmla="*/ 578814 h 3357396"/>
              <a:gd name="connsiteX502" fmla="*/ 3000170 w 3859699"/>
              <a:gd name="connsiteY502" fmla="*/ 576035 h 3357396"/>
              <a:gd name="connsiteX503" fmla="*/ 2987198 w 3859699"/>
              <a:gd name="connsiteY503" fmla="*/ 563062 h 3357396"/>
              <a:gd name="connsiteX504" fmla="*/ 2948794 w 3859699"/>
              <a:gd name="connsiteY504" fmla="*/ 812010 h 3357396"/>
              <a:gd name="connsiteX505" fmla="*/ 2877961 w 3859699"/>
              <a:gd name="connsiteY505" fmla="*/ 1278092 h 3357396"/>
              <a:gd name="connsiteX506" fmla="*/ 2831528 w 3859699"/>
              <a:gd name="connsiteY506" fmla="*/ 1118923 h 3357396"/>
              <a:gd name="connsiteX507" fmla="*/ 2827615 w 3859699"/>
              <a:gd name="connsiteY507" fmla="*/ 1113364 h 3357396"/>
              <a:gd name="connsiteX508" fmla="*/ 2821438 w 3859699"/>
              <a:gd name="connsiteY508" fmla="*/ 1042528 h 3357396"/>
              <a:gd name="connsiteX509" fmla="*/ 2789934 w 3859699"/>
              <a:gd name="connsiteY509" fmla="*/ 918981 h 3357396"/>
              <a:gd name="connsiteX510" fmla="*/ 2782726 w 3859699"/>
              <a:gd name="connsiteY510" fmla="*/ 918981 h 3357396"/>
              <a:gd name="connsiteX511" fmla="*/ 2767798 w 3859699"/>
              <a:gd name="connsiteY511" fmla="*/ 923511 h 3357396"/>
              <a:gd name="connsiteX512" fmla="*/ 2767798 w 3859699"/>
              <a:gd name="connsiteY512" fmla="*/ 879343 h 3357396"/>
              <a:gd name="connsiteX513" fmla="*/ 2768622 w 3859699"/>
              <a:gd name="connsiteY513" fmla="*/ 827248 h 3357396"/>
              <a:gd name="connsiteX514" fmla="*/ 2760179 w 3859699"/>
              <a:gd name="connsiteY514" fmla="*/ 821276 h 3357396"/>
              <a:gd name="connsiteX515" fmla="*/ 2732381 w 3859699"/>
              <a:gd name="connsiteY515" fmla="*/ 789256 h 3357396"/>
              <a:gd name="connsiteX516" fmla="*/ 2727439 w 3859699"/>
              <a:gd name="connsiteY516" fmla="*/ 782771 h 3357396"/>
              <a:gd name="connsiteX517" fmla="*/ 2719409 w 3859699"/>
              <a:gd name="connsiteY517" fmla="*/ 783800 h 3357396"/>
              <a:gd name="connsiteX518" fmla="*/ 2690170 w 3859699"/>
              <a:gd name="connsiteY518" fmla="*/ 968606 h 3357396"/>
              <a:gd name="connsiteX519" fmla="*/ 2694700 w 3859699"/>
              <a:gd name="connsiteY519" fmla="*/ 971592 h 3357396"/>
              <a:gd name="connsiteX520" fmla="*/ 2704995 w 3859699"/>
              <a:gd name="connsiteY520" fmla="*/ 972210 h 3357396"/>
              <a:gd name="connsiteX521" fmla="*/ 2677299 w 3859699"/>
              <a:gd name="connsiteY521" fmla="*/ 1084226 h 3357396"/>
              <a:gd name="connsiteX522" fmla="*/ 2658252 w 3859699"/>
              <a:gd name="connsiteY522" fmla="*/ 972107 h 3357396"/>
              <a:gd name="connsiteX523" fmla="*/ 2652899 w 3859699"/>
              <a:gd name="connsiteY523" fmla="*/ 882328 h 3357396"/>
              <a:gd name="connsiteX524" fmla="*/ 2657326 w 3859699"/>
              <a:gd name="connsiteY524" fmla="*/ 877181 h 3357396"/>
              <a:gd name="connsiteX525" fmla="*/ 2654855 w 3859699"/>
              <a:gd name="connsiteY525" fmla="*/ 843205 h 3357396"/>
              <a:gd name="connsiteX526" fmla="*/ 2651251 w 3859699"/>
              <a:gd name="connsiteY526" fmla="*/ 829513 h 3357396"/>
              <a:gd name="connsiteX527" fmla="*/ 2651252 w 3859699"/>
              <a:gd name="connsiteY527" fmla="*/ 824261 h 3357396"/>
              <a:gd name="connsiteX528" fmla="*/ 2643736 w 3859699"/>
              <a:gd name="connsiteY528" fmla="*/ 815922 h 3357396"/>
              <a:gd name="connsiteX529" fmla="*/ 2638588 w 3859699"/>
              <a:gd name="connsiteY529" fmla="*/ 815923 h 3357396"/>
              <a:gd name="connsiteX530" fmla="*/ 2609864 w 3859699"/>
              <a:gd name="connsiteY530" fmla="*/ 831983 h 3357396"/>
              <a:gd name="connsiteX531" fmla="*/ 2625616 w 3859699"/>
              <a:gd name="connsiteY531" fmla="*/ 876358 h 3357396"/>
              <a:gd name="connsiteX532" fmla="*/ 2625616 w 3859699"/>
              <a:gd name="connsiteY532" fmla="*/ 914863 h 3357396"/>
              <a:gd name="connsiteX533" fmla="*/ 2624586 w 3859699"/>
              <a:gd name="connsiteY533" fmla="*/ 966341 h 3357396"/>
              <a:gd name="connsiteX534" fmla="*/ 2611099 w 3859699"/>
              <a:gd name="connsiteY534" fmla="*/ 1028115 h 3357396"/>
              <a:gd name="connsiteX535" fmla="*/ 2581962 w 3859699"/>
              <a:gd name="connsiteY535" fmla="*/ 1072901 h 3357396"/>
              <a:gd name="connsiteX536" fmla="*/ 2576712 w 3859699"/>
              <a:gd name="connsiteY536" fmla="*/ 1076917 h 3357396"/>
              <a:gd name="connsiteX537" fmla="*/ 2554164 w 3859699"/>
              <a:gd name="connsiteY537" fmla="*/ 1204068 h 3357396"/>
              <a:gd name="connsiteX538" fmla="*/ 2534705 w 3859699"/>
              <a:gd name="connsiteY538" fmla="*/ 1315981 h 3357396"/>
              <a:gd name="connsiteX539" fmla="*/ 2370696 w 3859699"/>
              <a:gd name="connsiteY539" fmla="*/ 520747 h 3357396"/>
              <a:gd name="connsiteX540" fmla="*/ 2363900 w 3859699"/>
              <a:gd name="connsiteY540" fmla="*/ 513540 h 3357396"/>
              <a:gd name="connsiteX541" fmla="*/ 2350619 w 3859699"/>
              <a:gd name="connsiteY541" fmla="*/ 517864 h 3357396"/>
              <a:gd name="connsiteX542" fmla="*/ 2382330 w 3859699"/>
              <a:gd name="connsiteY542" fmla="*/ 849177 h 3357396"/>
              <a:gd name="connsiteX543" fmla="*/ 2423512 w 3859699"/>
              <a:gd name="connsiteY543" fmla="*/ 1145382 h 3357396"/>
              <a:gd name="connsiteX544" fmla="*/ 2375535 w 3859699"/>
              <a:gd name="connsiteY544" fmla="*/ 1069092 h 3357396"/>
              <a:gd name="connsiteX545" fmla="*/ 2355973 w 3859699"/>
              <a:gd name="connsiteY545" fmla="*/ 1025232 h 3357396"/>
              <a:gd name="connsiteX546" fmla="*/ 2319116 w 3859699"/>
              <a:gd name="connsiteY546" fmla="*/ 965106 h 3357396"/>
              <a:gd name="connsiteX547" fmla="*/ 2263210 w 3859699"/>
              <a:gd name="connsiteY547" fmla="*/ 733043 h 3357396"/>
              <a:gd name="connsiteX548" fmla="*/ 2241280 w 3859699"/>
              <a:gd name="connsiteY548" fmla="*/ 605789 h 3357396"/>
              <a:gd name="connsiteX549" fmla="*/ 2236235 w 3859699"/>
              <a:gd name="connsiteY549" fmla="*/ 599921 h 3357396"/>
              <a:gd name="connsiteX550" fmla="*/ 2228514 w 3859699"/>
              <a:gd name="connsiteY550" fmla="*/ 600950 h 3357396"/>
              <a:gd name="connsiteX551" fmla="*/ 2234485 w 3859699"/>
              <a:gd name="connsiteY551" fmla="*/ 767430 h 3357396"/>
              <a:gd name="connsiteX552" fmla="*/ 2247766 w 3859699"/>
              <a:gd name="connsiteY552" fmla="*/ 827351 h 3357396"/>
              <a:gd name="connsiteX553" fmla="*/ 2208335 w 3859699"/>
              <a:gd name="connsiteY553" fmla="*/ 734690 h 3357396"/>
              <a:gd name="connsiteX554" fmla="*/ 2124631 w 3859699"/>
              <a:gd name="connsiteY554" fmla="*/ 571710 h 3357396"/>
              <a:gd name="connsiteX555" fmla="*/ 2114335 w 3859699"/>
              <a:gd name="connsiteY555" fmla="*/ 570577 h 3357396"/>
              <a:gd name="connsiteX556" fmla="*/ 2110938 w 3859699"/>
              <a:gd name="connsiteY556" fmla="*/ 580049 h 3357396"/>
              <a:gd name="connsiteX557" fmla="*/ 2437412 w 3859699"/>
              <a:gd name="connsiteY557" fmla="*/ 1329365 h 3357396"/>
              <a:gd name="connsiteX558" fmla="*/ 2543046 w 3859699"/>
              <a:gd name="connsiteY558" fmla="*/ 1546911 h 3357396"/>
              <a:gd name="connsiteX559" fmla="*/ 2371417 w 3859699"/>
              <a:gd name="connsiteY559" fmla="*/ 1295698 h 3357396"/>
              <a:gd name="connsiteX560" fmla="*/ 2280198 w 3859699"/>
              <a:gd name="connsiteY560" fmla="*/ 1172151 h 3357396"/>
              <a:gd name="connsiteX561" fmla="*/ 2269903 w 3859699"/>
              <a:gd name="connsiteY561" fmla="*/ 1190683 h 3357396"/>
              <a:gd name="connsiteX562" fmla="*/ 2270520 w 3859699"/>
              <a:gd name="connsiteY562" fmla="*/ 1194080 h 3357396"/>
              <a:gd name="connsiteX563" fmla="*/ 2354223 w 3859699"/>
              <a:gd name="connsiteY563" fmla="*/ 1355515 h 3357396"/>
              <a:gd name="connsiteX564" fmla="*/ 2396641 w 3859699"/>
              <a:gd name="connsiteY564" fmla="*/ 1431498 h 3357396"/>
              <a:gd name="connsiteX565" fmla="*/ 2224498 w 3859699"/>
              <a:gd name="connsiteY565" fmla="*/ 1229806 h 3357396"/>
              <a:gd name="connsiteX566" fmla="*/ 2148723 w 3859699"/>
              <a:gd name="connsiteY566" fmla="*/ 1122527 h 3357396"/>
              <a:gd name="connsiteX567" fmla="*/ 2142031 w 3859699"/>
              <a:gd name="connsiteY567" fmla="*/ 1119541 h 3357396"/>
              <a:gd name="connsiteX568" fmla="*/ 2135751 w 3859699"/>
              <a:gd name="connsiteY568" fmla="*/ 1123041 h 3357396"/>
              <a:gd name="connsiteX569" fmla="*/ 2214512 w 3859699"/>
              <a:gd name="connsiteY569" fmla="*/ 1294153 h 3357396"/>
              <a:gd name="connsiteX570" fmla="*/ 2093436 w 3859699"/>
              <a:gd name="connsiteY570" fmla="*/ 1162164 h 3357396"/>
              <a:gd name="connsiteX571" fmla="*/ 1972256 w 3859699"/>
              <a:gd name="connsiteY571" fmla="*/ 987139 h 3357396"/>
              <a:gd name="connsiteX572" fmla="*/ 1965359 w 3859699"/>
              <a:gd name="connsiteY572" fmla="*/ 980859 h 3357396"/>
              <a:gd name="connsiteX573" fmla="*/ 1957122 w 3859699"/>
              <a:gd name="connsiteY573" fmla="*/ 985080 h 3357396"/>
              <a:gd name="connsiteX574" fmla="*/ 2129985 w 3859699"/>
              <a:gd name="connsiteY574" fmla="*/ 1257707 h 3357396"/>
              <a:gd name="connsiteX575" fmla="*/ 2261254 w 3859699"/>
              <a:gd name="connsiteY575" fmla="*/ 1428100 h 3357396"/>
              <a:gd name="connsiteX576" fmla="*/ 2254974 w 3859699"/>
              <a:gd name="connsiteY576" fmla="*/ 1435616 h 3357396"/>
              <a:gd name="connsiteX577" fmla="*/ 2023528 w 3859699"/>
              <a:gd name="connsiteY577" fmla="*/ 1246588 h 3357396"/>
              <a:gd name="connsiteX578" fmla="*/ 1858799 w 3859699"/>
              <a:gd name="connsiteY578" fmla="*/ 1105126 h 3357396"/>
              <a:gd name="connsiteX579" fmla="*/ 1848502 w 3859699"/>
              <a:gd name="connsiteY579" fmla="*/ 1105744 h 3357396"/>
              <a:gd name="connsiteX580" fmla="*/ 1846444 w 3859699"/>
              <a:gd name="connsiteY580" fmla="*/ 1115421 h 3357396"/>
              <a:gd name="connsiteX581" fmla="*/ 2055239 w 3859699"/>
              <a:gd name="connsiteY581" fmla="*/ 1314334 h 3357396"/>
              <a:gd name="connsiteX582" fmla="*/ 2219350 w 3859699"/>
              <a:gd name="connsiteY582" fmla="*/ 1461046 h 3357396"/>
              <a:gd name="connsiteX583" fmla="*/ 2204216 w 3859699"/>
              <a:gd name="connsiteY583" fmla="*/ 1607861 h 3357396"/>
              <a:gd name="connsiteX584" fmla="*/ 2196700 w 3859699"/>
              <a:gd name="connsiteY584" fmla="*/ 1646161 h 3357396"/>
              <a:gd name="connsiteX585" fmla="*/ 2195671 w 3859699"/>
              <a:gd name="connsiteY585" fmla="*/ 1694653 h 3357396"/>
              <a:gd name="connsiteX586" fmla="*/ 2193405 w 3859699"/>
              <a:gd name="connsiteY586" fmla="*/ 1778769 h 3357396"/>
              <a:gd name="connsiteX587" fmla="*/ 1978330 w 3859699"/>
              <a:gd name="connsiteY587" fmla="*/ 1739440 h 3357396"/>
              <a:gd name="connsiteX588" fmla="*/ 1942398 w 3859699"/>
              <a:gd name="connsiteY588" fmla="*/ 1613112 h 3357396"/>
              <a:gd name="connsiteX589" fmla="*/ 1938281 w 3859699"/>
              <a:gd name="connsiteY589" fmla="*/ 1606008 h 3357396"/>
              <a:gd name="connsiteX590" fmla="*/ 1930147 w 3859699"/>
              <a:gd name="connsiteY590" fmla="*/ 1606008 h 3357396"/>
              <a:gd name="connsiteX591" fmla="*/ 1906982 w 3859699"/>
              <a:gd name="connsiteY591" fmla="*/ 1678078 h 3357396"/>
              <a:gd name="connsiteX592" fmla="*/ 1801864 w 3859699"/>
              <a:gd name="connsiteY592" fmla="*/ 1623820 h 3357396"/>
              <a:gd name="connsiteX593" fmla="*/ 1792289 w 3859699"/>
              <a:gd name="connsiteY593" fmla="*/ 1629071 h 3357396"/>
              <a:gd name="connsiteX594" fmla="*/ 1915836 w 3859699"/>
              <a:gd name="connsiteY594" fmla="*/ 1702375 h 3357396"/>
              <a:gd name="connsiteX595" fmla="*/ 1915836 w 3859699"/>
              <a:gd name="connsiteY595" fmla="*/ 1707935 h 3357396"/>
              <a:gd name="connsiteX596" fmla="*/ 1841296 w 3859699"/>
              <a:gd name="connsiteY596" fmla="*/ 1679519 h 3357396"/>
              <a:gd name="connsiteX597" fmla="*/ 1878669 w 3859699"/>
              <a:gd name="connsiteY597" fmla="*/ 1712259 h 3357396"/>
              <a:gd name="connsiteX598" fmla="*/ 1832647 w 3859699"/>
              <a:gd name="connsiteY598" fmla="*/ 1696403 h 3357396"/>
              <a:gd name="connsiteX599" fmla="*/ 1796716 w 3859699"/>
              <a:gd name="connsiteY599" fmla="*/ 1697845 h 3357396"/>
              <a:gd name="connsiteX600" fmla="*/ 1739267 w 3859699"/>
              <a:gd name="connsiteY600" fmla="*/ 1690741 h 3357396"/>
              <a:gd name="connsiteX601" fmla="*/ 1681919 w 3859699"/>
              <a:gd name="connsiteY601" fmla="*/ 1690740 h 3357396"/>
              <a:gd name="connsiteX602" fmla="*/ 1666786 w 3859699"/>
              <a:gd name="connsiteY602" fmla="*/ 1654604 h 3357396"/>
              <a:gd name="connsiteX603" fmla="*/ 1665858 w 3859699"/>
              <a:gd name="connsiteY603" fmla="*/ 1653368 h 3357396"/>
              <a:gd name="connsiteX604" fmla="*/ 1677698 w 3859699"/>
              <a:gd name="connsiteY604" fmla="*/ 1617952 h 3357396"/>
              <a:gd name="connsiteX605" fmla="*/ 1633942 w 3859699"/>
              <a:gd name="connsiteY605" fmla="*/ 1576769 h 3357396"/>
              <a:gd name="connsiteX606" fmla="*/ 1630029 w 3859699"/>
              <a:gd name="connsiteY606" fmla="*/ 1573165 h 3357396"/>
              <a:gd name="connsiteX607" fmla="*/ 1655151 w 3859699"/>
              <a:gd name="connsiteY607" fmla="*/ 1583461 h 3357396"/>
              <a:gd name="connsiteX608" fmla="*/ 1686037 w 3859699"/>
              <a:gd name="connsiteY608" fmla="*/ 1627526 h 3357396"/>
              <a:gd name="connsiteX609" fmla="*/ 1690053 w 3859699"/>
              <a:gd name="connsiteY609" fmla="*/ 1633601 h 3357396"/>
              <a:gd name="connsiteX610" fmla="*/ 1697363 w 3859699"/>
              <a:gd name="connsiteY610" fmla="*/ 1633601 h 3357396"/>
              <a:gd name="connsiteX611" fmla="*/ 1720631 w 3859699"/>
              <a:gd name="connsiteY611" fmla="*/ 1636174 h 3357396"/>
              <a:gd name="connsiteX612" fmla="*/ 1751518 w 3859699"/>
              <a:gd name="connsiteY612" fmla="*/ 1673856 h 3357396"/>
              <a:gd name="connsiteX613" fmla="*/ 1760372 w 3859699"/>
              <a:gd name="connsiteY613" fmla="*/ 1680239 h 3357396"/>
              <a:gd name="connsiteX614" fmla="*/ 1767579 w 3859699"/>
              <a:gd name="connsiteY614" fmla="*/ 1672209 h 3357396"/>
              <a:gd name="connsiteX615" fmla="*/ 1828528 w 3859699"/>
              <a:gd name="connsiteY615" fmla="*/ 254193 h 3357396"/>
              <a:gd name="connsiteX616" fmla="*/ 1828529 w 3859699"/>
              <a:gd name="connsiteY616" fmla="*/ 250178 h 3357396"/>
              <a:gd name="connsiteX617" fmla="*/ 1818234 w 3859699"/>
              <a:gd name="connsiteY617" fmla="*/ 243383 h 3357396"/>
              <a:gd name="connsiteX618" fmla="*/ 1720116 w 3859699"/>
              <a:gd name="connsiteY618" fmla="*/ 823644 h 3357396"/>
              <a:gd name="connsiteX619" fmla="*/ 1666682 w 3859699"/>
              <a:gd name="connsiteY619" fmla="*/ 1199434 h 3357396"/>
              <a:gd name="connsiteX620" fmla="*/ 1692318 w 3859699"/>
              <a:gd name="connsiteY620" fmla="*/ 659532 h 3357396"/>
              <a:gd name="connsiteX621" fmla="*/ 1705085 w 3859699"/>
              <a:gd name="connsiteY621" fmla="*/ 36647 h 3357396"/>
              <a:gd name="connsiteX622" fmla="*/ 1695307 w 3859699"/>
              <a:gd name="connsiteY622" fmla="*/ 30589 h 3357396"/>
              <a:gd name="connsiteX623" fmla="*/ 1689127 w 3859699"/>
              <a:gd name="connsiteY623" fmla="*/ 39735 h 3357396"/>
              <a:gd name="connsiteX624" fmla="*/ 1657519 w 3859699"/>
              <a:gd name="connsiteY624" fmla="*/ 463915 h 3357396"/>
              <a:gd name="connsiteX625" fmla="*/ 1626632 w 3859699"/>
              <a:gd name="connsiteY625" fmla="*/ 811496 h 3357396"/>
              <a:gd name="connsiteX626" fmla="*/ 1632192 w 3859699"/>
              <a:gd name="connsiteY626" fmla="*/ 819114 h 3357396"/>
              <a:gd name="connsiteX627" fmla="*/ 1635486 w 3859699"/>
              <a:gd name="connsiteY627" fmla="*/ 819114 h 3357396"/>
              <a:gd name="connsiteX628" fmla="*/ 1630133 w 3859699"/>
              <a:gd name="connsiteY628" fmla="*/ 844957 h 3357396"/>
              <a:gd name="connsiteX629" fmla="*/ 1622823 w 3859699"/>
              <a:gd name="connsiteY629" fmla="*/ 469475 h 3357396"/>
              <a:gd name="connsiteX630" fmla="*/ 1607071 w 3859699"/>
              <a:gd name="connsiteY630" fmla="*/ 55179 h 3357396"/>
              <a:gd name="connsiteX631" fmla="*/ 1598525 w 3859699"/>
              <a:gd name="connsiteY631" fmla="*/ 49311 h 3357396"/>
              <a:gd name="connsiteX632" fmla="*/ 1591113 w 3859699"/>
              <a:gd name="connsiteY632" fmla="*/ 56620 h 3357396"/>
              <a:gd name="connsiteX633" fmla="*/ 1581331 w 3859699"/>
              <a:gd name="connsiteY633" fmla="*/ 331102 h 3357396"/>
              <a:gd name="connsiteX634" fmla="*/ 1578552 w 3859699"/>
              <a:gd name="connsiteY634" fmla="*/ 503142 h 3357396"/>
              <a:gd name="connsiteX635" fmla="*/ 1574433 w 3859699"/>
              <a:gd name="connsiteY635" fmla="*/ 255120 h 3357396"/>
              <a:gd name="connsiteX636" fmla="*/ 1569388 w 3859699"/>
              <a:gd name="connsiteY636" fmla="*/ 7305 h 3357396"/>
              <a:gd name="connsiteX637" fmla="*/ 1560468 w 3859699"/>
              <a:gd name="connsiteY637" fmla="*/ 42 h 3357396"/>
              <a:gd name="connsiteX638" fmla="*/ 1553430 w 3859699"/>
              <a:gd name="connsiteY638" fmla="*/ 6070 h 3357396"/>
              <a:gd name="connsiteX639" fmla="*/ 1510806 w 3859699"/>
              <a:gd name="connsiteY639" fmla="*/ 604554 h 3357396"/>
              <a:gd name="connsiteX640" fmla="*/ 1467977 w 3859699"/>
              <a:gd name="connsiteY640" fmla="*/ 275094 h 3357396"/>
              <a:gd name="connsiteX641" fmla="*/ 1459431 w 3859699"/>
              <a:gd name="connsiteY641" fmla="*/ 268607 h 3357396"/>
              <a:gd name="connsiteX642" fmla="*/ 1451916 w 3859699"/>
              <a:gd name="connsiteY642" fmla="*/ 276329 h 3357396"/>
              <a:gd name="connsiteX643" fmla="*/ 1471272 w 3859699"/>
              <a:gd name="connsiteY643" fmla="*/ 814379 h 3357396"/>
              <a:gd name="connsiteX644" fmla="*/ 1483420 w 3859699"/>
              <a:gd name="connsiteY644" fmla="*/ 898699 h 3357396"/>
              <a:gd name="connsiteX645" fmla="*/ 1474875 w 3859699"/>
              <a:gd name="connsiteY645" fmla="*/ 896949 h 3357396"/>
              <a:gd name="connsiteX646" fmla="*/ 1469624 w 3859699"/>
              <a:gd name="connsiteY646" fmla="*/ 904876 h 3357396"/>
              <a:gd name="connsiteX647" fmla="*/ 1475801 w 3859699"/>
              <a:gd name="connsiteY647" fmla="*/ 1056016 h 3357396"/>
              <a:gd name="connsiteX648" fmla="*/ 1534486 w 3859699"/>
              <a:gd name="connsiteY648" fmla="*/ 1466709 h 3357396"/>
              <a:gd name="connsiteX649" fmla="*/ 1375110 w 3859699"/>
              <a:gd name="connsiteY649" fmla="*/ 1231556 h 3357396"/>
              <a:gd name="connsiteX650" fmla="*/ 1069124 w 3859699"/>
              <a:gd name="connsiteY650" fmla="*/ 524762 h 3357396"/>
              <a:gd name="connsiteX651" fmla="*/ 1057902 w 3859699"/>
              <a:gd name="connsiteY651" fmla="*/ 529499 h 3357396"/>
              <a:gd name="connsiteX652" fmla="*/ 1263815 w 3859699"/>
              <a:gd name="connsiteY652" fmla="*/ 1103376 h 3357396"/>
              <a:gd name="connsiteX653" fmla="*/ 925398 w 3859699"/>
              <a:gd name="connsiteY653" fmla="*/ 342015 h 3357396"/>
              <a:gd name="connsiteX654" fmla="*/ 916853 w 3859699"/>
              <a:gd name="connsiteY654" fmla="*/ 335735 h 3357396"/>
              <a:gd name="connsiteX655" fmla="*/ 895541 w 3859699"/>
              <a:gd name="connsiteY655" fmla="*/ 350251 h 3357396"/>
              <a:gd name="connsiteX656" fmla="*/ 1062329 w 3859699"/>
              <a:gd name="connsiteY656" fmla="*/ 825498 h 3357396"/>
              <a:gd name="connsiteX657" fmla="*/ 1373669 w 3859699"/>
              <a:gd name="connsiteY657" fmla="*/ 1396183 h 3357396"/>
              <a:gd name="connsiteX658" fmla="*/ 511925 w 3859699"/>
              <a:gd name="connsiteY658" fmla="*/ 327807 h 3357396"/>
              <a:gd name="connsiteX659" fmla="*/ 500738 w 3859699"/>
              <a:gd name="connsiteY659" fmla="*/ 325133 h 3357396"/>
              <a:gd name="connsiteX660" fmla="*/ 497204 w 3859699"/>
              <a:gd name="connsiteY660" fmla="*/ 334396 h 3357396"/>
              <a:gd name="connsiteX661" fmla="*/ 1125236 w 3859699"/>
              <a:gd name="connsiteY661" fmla="*/ 1205406 h 3357396"/>
              <a:gd name="connsiteX662" fmla="*/ 1265462 w 3859699"/>
              <a:gd name="connsiteY662" fmla="*/ 1352118 h 3357396"/>
              <a:gd name="connsiteX663" fmla="*/ 296026 w 3859699"/>
              <a:gd name="connsiteY663" fmla="*/ 244207 h 3357396"/>
              <a:gd name="connsiteX664" fmla="*/ 243622 w 3859699"/>
              <a:gd name="connsiteY664" fmla="*/ 168740 h 3357396"/>
              <a:gd name="connsiteX665" fmla="*/ 233327 w 3859699"/>
              <a:gd name="connsiteY665" fmla="*/ 166165 h 33573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Lst>
            <a:rect l="l" t="t" r="r" b="b"/>
            <a:pathLst>
              <a:path w="3859699" h="3357396">
                <a:moveTo>
                  <a:pt x="2669063" y="2093712"/>
                </a:moveTo>
                <a:cubicBezTo>
                  <a:pt x="2686571" y="2096503"/>
                  <a:pt x="2703658" y="2101484"/>
                  <a:pt x="2719923" y="2108537"/>
                </a:cubicBezTo>
                <a:cubicBezTo>
                  <a:pt x="2707362" y="2117763"/>
                  <a:pt x="2694302" y="2126287"/>
                  <a:pt x="2680800" y="2134071"/>
                </a:cubicBezTo>
                <a:lnTo>
                  <a:pt x="2681005" y="2134071"/>
                </a:lnTo>
                <a:cubicBezTo>
                  <a:pt x="2679618" y="2134895"/>
                  <a:pt x="2678507" y="2136114"/>
                  <a:pt x="2677815" y="2137571"/>
                </a:cubicBezTo>
                <a:cubicBezTo>
                  <a:pt x="2565901" y="2370561"/>
                  <a:pt x="2508451" y="2432026"/>
                  <a:pt x="2466445" y="2477326"/>
                </a:cubicBezTo>
                <a:cubicBezTo>
                  <a:pt x="2457385" y="2487004"/>
                  <a:pt x="2448840" y="2496167"/>
                  <a:pt x="2440500" y="2506155"/>
                </a:cubicBezTo>
                <a:cubicBezTo>
                  <a:pt x="2434941" y="2511095"/>
                  <a:pt x="2422998" y="2523657"/>
                  <a:pt x="2392831" y="2555470"/>
                </a:cubicBezTo>
                <a:lnTo>
                  <a:pt x="2363284" y="2586356"/>
                </a:lnTo>
                <a:cubicBezTo>
                  <a:pt x="2385934" y="2547234"/>
                  <a:pt x="2423203" y="2480724"/>
                  <a:pt x="2459753" y="2414318"/>
                </a:cubicBezTo>
                <a:cubicBezTo>
                  <a:pt x="2515040" y="2313832"/>
                  <a:pt x="2533058" y="2280475"/>
                  <a:pt x="2536867" y="2267296"/>
                </a:cubicBezTo>
                <a:cubicBezTo>
                  <a:pt x="2563122" y="2216745"/>
                  <a:pt x="2633029" y="2125217"/>
                  <a:pt x="2669063" y="2093712"/>
                </a:cubicBezTo>
                <a:close/>
                <a:moveTo>
                  <a:pt x="2772328" y="1912818"/>
                </a:moveTo>
                <a:lnTo>
                  <a:pt x="2772530" y="1912892"/>
                </a:lnTo>
                <a:lnTo>
                  <a:pt x="2772534" y="1912818"/>
                </a:lnTo>
                <a:close/>
                <a:moveTo>
                  <a:pt x="2245215" y="1880963"/>
                </a:moveTo>
                <a:cubicBezTo>
                  <a:pt x="2253069" y="1877903"/>
                  <a:pt x="2263158" y="1875342"/>
                  <a:pt x="2276388" y="1873797"/>
                </a:cubicBezTo>
                <a:cubicBezTo>
                  <a:pt x="2345781" y="1875650"/>
                  <a:pt x="2363181" y="1909729"/>
                  <a:pt x="2393347" y="1926202"/>
                </a:cubicBezTo>
                <a:cubicBezTo>
                  <a:pt x="2421951" y="1940258"/>
                  <a:pt x="2452122" y="1950868"/>
                  <a:pt x="2483227" y="1957809"/>
                </a:cubicBezTo>
                <a:cubicBezTo>
                  <a:pt x="2542632" y="1974488"/>
                  <a:pt x="2562504" y="1990446"/>
                  <a:pt x="2601318" y="2019583"/>
                </a:cubicBezTo>
                <a:cubicBezTo>
                  <a:pt x="2593803" y="2022261"/>
                  <a:pt x="2532029" y="2031629"/>
                  <a:pt x="2524410" y="2034203"/>
                </a:cubicBezTo>
                <a:lnTo>
                  <a:pt x="2524410" y="2034099"/>
                </a:lnTo>
                <a:lnTo>
                  <a:pt x="2520086" y="2035644"/>
                </a:lnTo>
                <a:cubicBezTo>
                  <a:pt x="2410643" y="2073018"/>
                  <a:pt x="2259504" y="2115538"/>
                  <a:pt x="2152738" y="2108846"/>
                </a:cubicBezTo>
                <a:cubicBezTo>
                  <a:pt x="2153458" y="2103493"/>
                  <a:pt x="2154488" y="2097109"/>
                  <a:pt x="2155724" y="2089696"/>
                </a:cubicBezTo>
                <a:cubicBezTo>
                  <a:pt x="2156145" y="2088251"/>
                  <a:pt x="2156420" y="2086769"/>
                  <a:pt x="2156548" y="2085270"/>
                </a:cubicBezTo>
                <a:cubicBezTo>
                  <a:pt x="2167565" y="2025246"/>
                  <a:pt x="2194436" y="1916318"/>
                  <a:pt x="2210496" y="1907979"/>
                </a:cubicBezTo>
                <a:cubicBezTo>
                  <a:pt x="2218219" y="1903808"/>
                  <a:pt x="2221654" y="1890141"/>
                  <a:pt x="2245215" y="1880963"/>
                </a:cubicBezTo>
                <a:close/>
                <a:moveTo>
                  <a:pt x="2934484" y="1597669"/>
                </a:moveTo>
                <a:lnTo>
                  <a:pt x="2934690" y="1597669"/>
                </a:lnTo>
                <a:cubicBezTo>
                  <a:pt x="2932940" y="1624643"/>
                  <a:pt x="2916364" y="1685593"/>
                  <a:pt x="2894640" y="1741808"/>
                </a:cubicBezTo>
                <a:cubicBezTo>
                  <a:pt x="2885786" y="1754573"/>
                  <a:pt x="2858606" y="1827570"/>
                  <a:pt x="2847487" y="1880284"/>
                </a:cubicBezTo>
                <a:cubicBezTo>
                  <a:pt x="2845530" y="1768988"/>
                  <a:pt x="2910186" y="1641631"/>
                  <a:pt x="2934484" y="1597669"/>
                </a:cubicBezTo>
                <a:close/>
                <a:moveTo>
                  <a:pt x="1963298" y="1789167"/>
                </a:moveTo>
                <a:cubicBezTo>
                  <a:pt x="2042987" y="1806360"/>
                  <a:pt x="2104658" y="1817789"/>
                  <a:pt x="2158914" y="1835395"/>
                </a:cubicBezTo>
                <a:cubicBezTo>
                  <a:pt x="2178786" y="1832924"/>
                  <a:pt x="2187949" y="1849191"/>
                  <a:pt x="2170961" y="1901596"/>
                </a:cubicBezTo>
                <a:lnTo>
                  <a:pt x="2147487" y="2055515"/>
                </a:lnTo>
                <a:cubicBezTo>
                  <a:pt x="2152429" y="2112449"/>
                  <a:pt x="2142339" y="2079195"/>
                  <a:pt x="2136059" y="2082592"/>
                </a:cubicBezTo>
                <a:lnTo>
                  <a:pt x="2136059" y="2082489"/>
                </a:lnTo>
                <a:cubicBezTo>
                  <a:pt x="2128337" y="2086711"/>
                  <a:pt x="2109909" y="2109979"/>
                  <a:pt x="2101466" y="2103081"/>
                </a:cubicBezTo>
                <a:cubicBezTo>
                  <a:pt x="2065225" y="2007023"/>
                  <a:pt x="1978536" y="1857119"/>
                  <a:pt x="1963298" y="1789167"/>
                </a:cubicBezTo>
                <a:close/>
                <a:moveTo>
                  <a:pt x="2803936" y="1468253"/>
                </a:moveTo>
                <a:cubicBezTo>
                  <a:pt x="2803832" y="1469385"/>
                  <a:pt x="2803832" y="1470724"/>
                  <a:pt x="2803833" y="1471753"/>
                </a:cubicBezTo>
                <a:lnTo>
                  <a:pt x="2805377" y="1469694"/>
                </a:lnTo>
                <a:close/>
                <a:moveTo>
                  <a:pt x="2801053" y="1431703"/>
                </a:moveTo>
                <a:cubicBezTo>
                  <a:pt x="2802906" y="1459707"/>
                  <a:pt x="2811349" y="1467224"/>
                  <a:pt x="2818041" y="1465370"/>
                </a:cubicBezTo>
                <a:cubicBezTo>
                  <a:pt x="2801156" y="1493477"/>
                  <a:pt x="2788184" y="1495330"/>
                  <a:pt x="2801053" y="1431703"/>
                </a:cubicBezTo>
                <a:close/>
                <a:moveTo>
                  <a:pt x="3002126" y="1352736"/>
                </a:moveTo>
                <a:cubicBezTo>
                  <a:pt x="3005421" y="1512420"/>
                  <a:pt x="2780564" y="1684255"/>
                  <a:pt x="2821644" y="1933718"/>
                </a:cubicBezTo>
                <a:cubicBezTo>
                  <a:pt x="2821373" y="2112990"/>
                  <a:pt x="2790678" y="1942276"/>
                  <a:pt x="2777006" y="1914522"/>
                </a:cubicBezTo>
                <a:lnTo>
                  <a:pt x="2772530" y="1912892"/>
                </a:lnTo>
                <a:lnTo>
                  <a:pt x="2771823" y="1925735"/>
                </a:lnTo>
                <a:cubicBezTo>
                  <a:pt x="2775291" y="1961371"/>
                  <a:pt x="2807295" y="2025039"/>
                  <a:pt x="2713335" y="1897477"/>
                </a:cubicBezTo>
                <a:cubicBezTo>
                  <a:pt x="2637662" y="1826540"/>
                  <a:pt x="2394170" y="1614657"/>
                  <a:pt x="2393347" y="1575224"/>
                </a:cubicBezTo>
                <a:cubicBezTo>
                  <a:pt x="2393346" y="1558340"/>
                  <a:pt x="2468093" y="1609611"/>
                  <a:pt x="2550149" y="1660060"/>
                </a:cubicBezTo>
                <a:lnTo>
                  <a:pt x="2548295" y="1657487"/>
                </a:lnTo>
                <a:cubicBezTo>
                  <a:pt x="2645486" y="1715759"/>
                  <a:pt x="2809702" y="2061692"/>
                  <a:pt x="2734337" y="1748705"/>
                </a:cubicBezTo>
                <a:cubicBezTo>
                  <a:pt x="2783654" y="1709068"/>
                  <a:pt x="2695626" y="1744484"/>
                  <a:pt x="2700568" y="1686932"/>
                </a:cubicBezTo>
                <a:cubicBezTo>
                  <a:pt x="2673181" y="1677769"/>
                  <a:pt x="2633028" y="1691874"/>
                  <a:pt x="2555194" y="1586755"/>
                </a:cubicBezTo>
                <a:cubicBezTo>
                  <a:pt x="2581035" y="1590462"/>
                  <a:pt x="2704892" y="1734703"/>
                  <a:pt x="2683476" y="1653676"/>
                </a:cubicBezTo>
                <a:cubicBezTo>
                  <a:pt x="2698920" y="1674268"/>
                  <a:pt x="2708290" y="1706391"/>
                  <a:pt x="2746075" y="1691359"/>
                </a:cubicBezTo>
                <a:cubicBezTo>
                  <a:pt x="2705510" y="1629585"/>
                  <a:pt x="2681521" y="1608273"/>
                  <a:pt x="2681315" y="1518804"/>
                </a:cubicBezTo>
                <a:cubicBezTo>
                  <a:pt x="2690478" y="1502434"/>
                  <a:pt x="2706230" y="1476077"/>
                  <a:pt x="2706230" y="1476077"/>
                </a:cubicBezTo>
                <a:cubicBezTo>
                  <a:pt x="2706662" y="1476475"/>
                  <a:pt x="2707042" y="1476924"/>
                  <a:pt x="2707362" y="1477416"/>
                </a:cubicBezTo>
                <a:cubicBezTo>
                  <a:pt x="2780667" y="1377857"/>
                  <a:pt x="2777477" y="1552162"/>
                  <a:pt x="2786640" y="1636895"/>
                </a:cubicBezTo>
                <a:cubicBezTo>
                  <a:pt x="2810216" y="1586550"/>
                  <a:pt x="2909363" y="1485138"/>
                  <a:pt x="2807230" y="1544235"/>
                </a:cubicBezTo>
                <a:cubicBezTo>
                  <a:pt x="2896082" y="1455074"/>
                  <a:pt x="2854900" y="1578828"/>
                  <a:pt x="2794875" y="1632263"/>
                </a:cubicBezTo>
                <a:cubicBezTo>
                  <a:pt x="2772122" y="1659443"/>
                  <a:pt x="2763989" y="1668708"/>
                  <a:pt x="2756164" y="1691771"/>
                </a:cubicBezTo>
                <a:cubicBezTo>
                  <a:pt x="2771252" y="1683318"/>
                  <a:pt x="2785461" y="1673385"/>
                  <a:pt x="2798582" y="1662119"/>
                </a:cubicBezTo>
                <a:cubicBezTo>
                  <a:pt x="2803936" y="1709891"/>
                  <a:pt x="2849339" y="1638543"/>
                  <a:pt x="2865298" y="1627733"/>
                </a:cubicBezTo>
                <a:cubicBezTo>
                  <a:pt x="2846148" y="1570797"/>
                  <a:pt x="2968253" y="1394434"/>
                  <a:pt x="3002126" y="1352736"/>
                </a:cubicBezTo>
                <a:close/>
                <a:moveTo>
                  <a:pt x="1695510" y="1723996"/>
                </a:moveTo>
                <a:cubicBezTo>
                  <a:pt x="1609129" y="1823349"/>
                  <a:pt x="1164256" y="2129232"/>
                  <a:pt x="1075096" y="2194506"/>
                </a:cubicBezTo>
                <a:cubicBezTo>
                  <a:pt x="982436" y="2262251"/>
                  <a:pt x="886892" y="2332262"/>
                  <a:pt x="797115" y="2390123"/>
                </a:cubicBezTo>
                <a:lnTo>
                  <a:pt x="802673" y="2399697"/>
                </a:lnTo>
                <a:cubicBezTo>
                  <a:pt x="982023" y="2307860"/>
                  <a:pt x="1633531" y="1853103"/>
                  <a:pt x="1710232" y="1728629"/>
                </a:cubicBezTo>
                <a:cubicBezTo>
                  <a:pt x="1705084" y="1728629"/>
                  <a:pt x="1700761" y="1724201"/>
                  <a:pt x="1695510" y="1723996"/>
                </a:cubicBezTo>
                <a:close/>
                <a:moveTo>
                  <a:pt x="2541294" y="1460737"/>
                </a:moveTo>
                <a:cubicBezTo>
                  <a:pt x="2585462" y="1462384"/>
                  <a:pt x="2636940" y="1511598"/>
                  <a:pt x="2655267" y="1557516"/>
                </a:cubicBezTo>
                <a:cubicBezTo>
                  <a:pt x="2659591" y="1568326"/>
                  <a:pt x="2664739" y="1586344"/>
                  <a:pt x="2658047" y="1599213"/>
                </a:cubicBezTo>
                <a:cubicBezTo>
                  <a:pt x="2652946" y="1590876"/>
                  <a:pt x="2646631" y="1583346"/>
                  <a:pt x="2639309" y="1576872"/>
                </a:cubicBezTo>
                <a:cubicBezTo>
                  <a:pt x="2638382" y="1576254"/>
                  <a:pt x="2622528" y="1574194"/>
                  <a:pt x="2622528" y="1574194"/>
                </a:cubicBezTo>
                <a:cubicBezTo>
                  <a:pt x="2616906" y="1562654"/>
                  <a:pt x="2607645" y="1553284"/>
                  <a:pt x="2596171" y="1547529"/>
                </a:cubicBezTo>
                <a:lnTo>
                  <a:pt x="2582992" y="1539498"/>
                </a:lnTo>
                <a:lnTo>
                  <a:pt x="2588140" y="1554016"/>
                </a:lnTo>
                <a:cubicBezTo>
                  <a:pt x="2592463" y="1566370"/>
                  <a:pt x="2624483" y="1583152"/>
                  <a:pt x="2624483" y="1583152"/>
                </a:cubicBezTo>
                <a:cubicBezTo>
                  <a:pt x="2619156" y="1586628"/>
                  <a:pt x="2612468" y="1587282"/>
                  <a:pt x="2606569" y="1584903"/>
                </a:cubicBezTo>
                <a:cubicBezTo>
                  <a:pt x="2576197" y="1573680"/>
                  <a:pt x="2546339" y="1499551"/>
                  <a:pt x="2541294" y="1460840"/>
                </a:cubicBezTo>
                <a:close/>
                <a:moveTo>
                  <a:pt x="2263004" y="1472885"/>
                </a:moveTo>
                <a:cubicBezTo>
                  <a:pt x="2272373" y="1472062"/>
                  <a:pt x="2307069" y="1486992"/>
                  <a:pt x="2408173" y="1662017"/>
                </a:cubicBezTo>
                <a:lnTo>
                  <a:pt x="2410437" y="1664487"/>
                </a:lnTo>
                <a:cubicBezTo>
                  <a:pt x="2459444" y="1705052"/>
                  <a:pt x="2507525" y="1764869"/>
                  <a:pt x="2558488" y="1828085"/>
                </a:cubicBezTo>
                <a:cubicBezTo>
                  <a:pt x="2596951" y="1877631"/>
                  <a:pt x="2637948" y="1925158"/>
                  <a:pt x="2681315" y="1970473"/>
                </a:cubicBezTo>
                <a:cubicBezTo>
                  <a:pt x="2586697" y="1934541"/>
                  <a:pt x="2460988" y="1915906"/>
                  <a:pt x="2384287" y="1873900"/>
                </a:cubicBezTo>
                <a:cubicBezTo>
                  <a:pt x="2380683" y="1871841"/>
                  <a:pt x="2312217" y="1830042"/>
                  <a:pt x="2293891" y="1830041"/>
                </a:cubicBezTo>
                <a:cubicBezTo>
                  <a:pt x="2291170" y="1829987"/>
                  <a:pt x="2288450" y="1830159"/>
                  <a:pt x="2285757" y="1830556"/>
                </a:cubicBezTo>
                <a:cubicBezTo>
                  <a:pt x="2285414" y="1825289"/>
                  <a:pt x="2284233" y="1820110"/>
                  <a:pt x="2282257" y="1815216"/>
                </a:cubicBezTo>
                <a:cubicBezTo>
                  <a:pt x="2281323" y="1812738"/>
                  <a:pt x="2279254" y="1810860"/>
                  <a:pt x="2276698" y="1810171"/>
                </a:cubicBezTo>
                <a:cubicBezTo>
                  <a:pt x="2265269" y="1807288"/>
                  <a:pt x="2256106" y="1805228"/>
                  <a:pt x="2248075" y="1803478"/>
                </a:cubicBezTo>
                <a:cubicBezTo>
                  <a:pt x="2223057" y="1798021"/>
                  <a:pt x="2223057" y="1797301"/>
                  <a:pt x="2223468" y="1792565"/>
                </a:cubicBezTo>
                <a:cubicBezTo>
                  <a:pt x="2223881" y="1787829"/>
                  <a:pt x="2225837" y="1742322"/>
                  <a:pt x="2227278" y="1707009"/>
                </a:cubicBezTo>
                <a:cubicBezTo>
                  <a:pt x="2228307" y="1683843"/>
                  <a:pt x="2229131" y="1664487"/>
                  <a:pt x="2229131" y="1663664"/>
                </a:cubicBezTo>
                <a:cubicBezTo>
                  <a:pt x="2229852" y="1660472"/>
                  <a:pt x="2230470" y="1655118"/>
                  <a:pt x="2231603" y="1645851"/>
                </a:cubicBezTo>
                <a:cubicBezTo>
                  <a:pt x="2247973" y="1510671"/>
                  <a:pt x="2258166" y="1479064"/>
                  <a:pt x="2263004" y="1472885"/>
                </a:cubicBezTo>
                <a:close/>
                <a:moveTo>
                  <a:pt x="2654441" y="1313317"/>
                </a:moveTo>
                <a:cubicBezTo>
                  <a:pt x="2668769" y="1302146"/>
                  <a:pt x="2685780" y="1333419"/>
                  <a:pt x="2723424" y="1392683"/>
                </a:cubicBezTo>
                <a:cubicBezTo>
                  <a:pt x="2723633" y="1404583"/>
                  <a:pt x="2720026" y="1416237"/>
                  <a:pt x="2713128" y="1425937"/>
                </a:cubicBezTo>
                <a:cubicBezTo>
                  <a:pt x="2710952" y="1432938"/>
                  <a:pt x="2704598" y="1437807"/>
                  <a:pt x="2697274" y="1438087"/>
                </a:cubicBezTo>
                <a:cubicBezTo>
                  <a:pt x="2689346" y="1439939"/>
                  <a:pt x="2681314" y="1435513"/>
                  <a:pt x="2675446" y="1420276"/>
                </a:cubicBezTo>
                <a:cubicBezTo>
                  <a:pt x="2676991" y="1425218"/>
                  <a:pt x="2671933" y="1444580"/>
                  <a:pt x="2676387" y="1450651"/>
                </a:cubicBezTo>
                <a:lnTo>
                  <a:pt x="2684546" y="1451260"/>
                </a:lnTo>
                <a:lnTo>
                  <a:pt x="2684610" y="1451162"/>
                </a:lnTo>
                <a:lnTo>
                  <a:pt x="2684609" y="1451265"/>
                </a:lnTo>
                <a:lnTo>
                  <a:pt x="2684546" y="1451260"/>
                </a:lnTo>
                <a:lnTo>
                  <a:pt x="2667146" y="1477957"/>
                </a:lnTo>
                <a:cubicBezTo>
                  <a:pt x="2664765" y="1488149"/>
                  <a:pt x="2666901" y="1499706"/>
                  <a:pt x="2676784" y="1512936"/>
                </a:cubicBezTo>
                <a:cubicBezTo>
                  <a:pt x="2629116" y="1500169"/>
                  <a:pt x="2620776" y="1452089"/>
                  <a:pt x="2620262" y="1411833"/>
                </a:cubicBezTo>
                <a:cubicBezTo>
                  <a:pt x="2621909" y="1404935"/>
                  <a:pt x="2627675" y="1382387"/>
                  <a:pt x="2627675" y="1382387"/>
                </a:cubicBezTo>
                <a:cubicBezTo>
                  <a:pt x="2638215" y="1342003"/>
                  <a:pt x="2645846" y="1320020"/>
                  <a:pt x="2654441" y="1313317"/>
                </a:cubicBezTo>
                <a:close/>
                <a:moveTo>
                  <a:pt x="2300789" y="1402361"/>
                </a:moveTo>
                <a:cubicBezTo>
                  <a:pt x="2361534" y="1434689"/>
                  <a:pt x="2418468" y="1491418"/>
                  <a:pt x="2473550" y="1546396"/>
                </a:cubicBezTo>
                <a:lnTo>
                  <a:pt x="2473550" y="1546294"/>
                </a:lnTo>
                <a:cubicBezTo>
                  <a:pt x="2514285" y="1589082"/>
                  <a:pt x="2558163" y="1628761"/>
                  <a:pt x="2604819" y="1665002"/>
                </a:cubicBezTo>
                <a:cubicBezTo>
                  <a:pt x="2599671" y="1666340"/>
                  <a:pt x="2530175" y="1628864"/>
                  <a:pt x="2528528" y="1629276"/>
                </a:cubicBezTo>
                <a:cubicBezTo>
                  <a:pt x="2510099" y="1604259"/>
                  <a:pt x="2476535" y="1580269"/>
                  <a:pt x="2441118" y="1554942"/>
                </a:cubicBezTo>
                <a:cubicBezTo>
                  <a:pt x="2382640" y="1513039"/>
                  <a:pt x="2316747" y="1465886"/>
                  <a:pt x="2300789" y="1402361"/>
                </a:cubicBezTo>
                <a:close/>
                <a:moveTo>
                  <a:pt x="2768313" y="1246074"/>
                </a:moveTo>
                <a:cubicBezTo>
                  <a:pt x="2801568" y="1276961"/>
                  <a:pt x="2761827" y="1343058"/>
                  <a:pt x="2753281" y="1365709"/>
                </a:cubicBezTo>
                <a:cubicBezTo>
                  <a:pt x="2799199" y="1338322"/>
                  <a:pt x="2832145" y="1268620"/>
                  <a:pt x="2838117" y="1288388"/>
                </a:cubicBezTo>
                <a:cubicBezTo>
                  <a:pt x="2876829" y="1308979"/>
                  <a:pt x="2850266" y="1402361"/>
                  <a:pt x="2825144" y="1452398"/>
                </a:cubicBezTo>
                <a:cubicBezTo>
                  <a:pt x="2824311" y="1445293"/>
                  <a:pt x="2819985" y="1439075"/>
                  <a:pt x="2813613" y="1435822"/>
                </a:cubicBezTo>
                <a:cubicBezTo>
                  <a:pt x="2789111" y="1421099"/>
                  <a:pt x="2837087" y="1373328"/>
                  <a:pt x="2812584" y="1342338"/>
                </a:cubicBezTo>
                <a:cubicBezTo>
                  <a:pt x="2788492" y="1393816"/>
                  <a:pt x="2776549" y="1477313"/>
                  <a:pt x="2729086" y="1381461"/>
                </a:cubicBezTo>
                <a:cubicBezTo>
                  <a:pt x="2725380" y="1374459"/>
                  <a:pt x="2660414" y="1241132"/>
                  <a:pt x="2697067" y="1302905"/>
                </a:cubicBezTo>
                <a:cubicBezTo>
                  <a:pt x="2728367" y="1310215"/>
                  <a:pt x="2727748" y="1388770"/>
                  <a:pt x="2739896" y="1383520"/>
                </a:cubicBezTo>
                <a:lnTo>
                  <a:pt x="2739896" y="1383417"/>
                </a:lnTo>
                <a:cubicBezTo>
                  <a:pt x="2753756" y="1374970"/>
                  <a:pt x="2758328" y="1356999"/>
                  <a:pt x="2750192" y="1342955"/>
                </a:cubicBezTo>
                <a:cubicBezTo>
                  <a:pt x="2778093" y="1318864"/>
                  <a:pt x="2757399" y="1274593"/>
                  <a:pt x="2768313" y="1246074"/>
                </a:cubicBezTo>
                <a:close/>
                <a:moveTo>
                  <a:pt x="2575991" y="1285402"/>
                </a:moveTo>
                <a:cubicBezTo>
                  <a:pt x="2618614" y="1306921"/>
                  <a:pt x="2612642" y="1323909"/>
                  <a:pt x="2604304" y="1347176"/>
                </a:cubicBezTo>
                <a:cubicBezTo>
                  <a:pt x="2598126" y="1364884"/>
                  <a:pt x="2600597" y="1430674"/>
                  <a:pt x="2601937" y="1448794"/>
                </a:cubicBezTo>
                <a:cubicBezTo>
                  <a:pt x="2601937" y="1451883"/>
                  <a:pt x="2602451" y="1455590"/>
                  <a:pt x="2602657" y="1458266"/>
                </a:cubicBezTo>
                <a:lnTo>
                  <a:pt x="2600906" y="1457133"/>
                </a:lnTo>
                <a:cubicBezTo>
                  <a:pt x="2595450" y="1452089"/>
                  <a:pt x="2594832" y="1436542"/>
                  <a:pt x="2594317" y="1423466"/>
                </a:cubicBezTo>
                <a:cubicBezTo>
                  <a:pt x="2595276" y="1411387"/>
                  <a:pt x="2593002" y="1399270"/>
                  <a:pt x="2587728" y="1388358"/>
                </a:cubicBezTo>
                <a:lnTo>
                  <a:pt x="2585257" y="1384961"/>
                </a:lnTo>
                <a:lnTo>
                  <a:pt x="2581346" y="1386506"/>
                </a:lnTo>
                <a:cubicBezTo>
                  <a:pt x="2564460" y="1392889"/>
                  <a:pt x="2566828" y="1407097"/>
                  <a:pt x="2568373" y="1416672"/>
                </a:cubicBezTo>
                <a:cubicBezTo>
                  <a:pt x="2569917" y="1426246"/>
                  <a:pt x="2570945" y="1432424"/>
                  <a:pt x="2558077" y="1434586"/>
                </a:cubicBezTo>
                <a:lnTo>
                  <a:pt x="2554782" y="1436440"/>
                </a:lnTo>
                <a:cubicBezTo>
                  <a:pt x="2553546" y="1435513"/>
                  <a:pt x="2544487" y="1423879"/>
                  <a:pt x="2544487" y="1423879"/>
                </a:cubicBezTo>
                <a:cubicBezTo>
                  <a:pt x="2544487" y="1423879"/>
                  <a:pt x="2556944" y="1432424"/>
                  <a:pt x="2557768" y="1432116"/>
                </a:cubicBezTo>
                <a:lnTo>
                  <a:pt x="2557768" y="1432012"/>
                </a:lnTo>
                <a:cubicBezTo>
                  <a:pt x="2564356" y="1429747"/>
                  <a:pt x="2563430" y="1423879"/>
                  <a:pt x="2557767" y="1390830"/>
                </a:cubicBezTo>
                <a:cubicBezTo>
                  <a:pt x="2557174" y="1379740"/>
                  <a:pt x="2557450" y="1368621"/>
                  <a:pt x="2558591" y="1357574"/>
                </a:cubicBezTo>
                <a:cubicBezTo>
                  <a:pt x="2563430" y="1341205"/>
                  <a:pt x="2569608" y="1320819"/>
                  <a:pt x="2562607" y="1308362"/>
                </a:cubicBezTo>
                <a:cubicBezTo>
                  <a:pt x="2560959" y="1305479"/>
                  <a:pt x="2571770" y="1292198"/>
                  <a:pt x="2573932" y="1288388"/>
                </a:cubicBezTo>
                <a:cubicBezTo>
                  <a:pt x="2574552" y="1287349"/>
                  <a:pt x="2575240" y="1286352"/>
                  <a:pt x="2575991" y="1285402"/>
                </a:cubicBezTo>
                <a:close/>
                <a:moveTo>
                  <a:pt x="2241795" y="1342749"/>
                </a:moveTo>
                <a:cubicBezTo>
                  <a:pt x="2287405" y="1413377"/>
                  <a:pt x="2332809" y="1491829"/>
                  <a:pt x="2375638" y="1566782"/>
                </a:cubicBezTo>
                <a:cubicBezTo>
                  <a:pt x="2321276" y="1498414"/>
                  <a:pt x="2276267" y="1423108"/>
                  <a:pt x="2241795" y="1342852"/>
                </a:cubicBezTo>
                <a:close/>
                <a:moveTo>
                  <a:pt x="2805776" y="1148029"/>
                </a:moveTo>
                <a:cubicBezTo>
                  <a:pt x="2807314" y="1147647"/>
                  <a:pt x="2807926" y="1147956"/>
                  <a:pt x="2807952" y="1147956"/>
                </a:cubicBezTo>
                <a:lnTo>
                  <a:pt x="2807952" y="1147853"/>
                </a:lnTo>
                <a:cubicBezTo>
                  <a:pt x="2838838" y="1169782"/>
                  <a:pt x="2746795" y="1270371"/>
                  <a:pt x="2757709" y="1197067"/>
                </a:cubicBezTo>
                <a:cubicBezTo>
                  <a:pt x="2788208" y="1156528"/>
                  <a:pt x="2801163" y="1149172"/>
                  <a:pt x="2805776" y="1148029"/>
                </a:cubicBezTo>
                <a:close/>
                <a:moveTo>
                  <a:pt x="1665749" y="1414840"/>
                </a:moveTo>
                <a:cubicBezTo>
                  <a:pt x="1670517" y="1413011"/>
                  <a:pt x="1669204" y="1480634"/>
                  <a:pt x="1669976" y="1494919"/>
                </a:cubicBezTo>
                <a:cubicBezTo>
                  <a:pt x="1670366" y="1512182"/>
                  <a:pt x="1673853" y="1529234"/>
                  <a:pt x="1680272" y="1545264"/>
                </a:cubicBezTo>
                <a:cubicBezTo>
                  <a:pt x="1668433" y="1552472"/>
                  <a:pt x="1654224" y="1557928"/>
                  <a:pt x="1645988" y="1549074"/>
                </a:cubicBezTo>
                <a:cubicBezTo>
                  <a:pt x="1630338" y="1532909"/>
                  <a:pt x="1645576" y="1527041"/>
                  <a:pt x="1658652" y="1444471"/>
                </a:cubicBezTo>
                <a:lnTo>
                  <a:pt x="1658652" y="1444367"/>
                </a:lnTo>
                <a:cubicBezTo>
                  <a:pt x="1661895" y="1423776"/>
                  <a:pt x="1664160" y="1415449"/>
                  <a:pt x="1665749" y="1414840"/>
                </a:cubicBezTo>
                <a:close/>
                <a:moveTo>
                  <a:pt x="2598950" y="1100802"/>
                </a:moveTo>
                <a:cubicBezTo>
                  <a:pt x="2609245" y="1106053"/>
                  <a:pt x="2616144" y="1123453"/>
                  <a:pt x="2624071" y="1146103"/>
                </a:cubicBezTo>
                <a:cubicBezTo>
                  <a:pt x="2626749" y="1153927"/>
                  <a:pt x="2629425" y="1161547"/>
                  <a:pt x="2632823" y="1169165"/>
                </a:cubicBezTo>
                <a:cubicBezTo>
                  <a:pt x="2639309" y="1180078"/>
                  <a:pt x="2648780" y="1193463"/>
                  <a:pt x="2655988" y="1194903"/>
                </a:cubicBezTo>
                <a:cubicBezTo>
                  <a:pt x="2659371" y="1196175"/>
                  <a:pt x="2663145" y="1195873"/>
                  <a:pt x="2666284" y="1194080"/>
                </a:cubicBezTo>
                <a:cubicBezTo>
                  <a:pt x="2676579" y="1188418"/>
                  <a:pt x="2683683" y="1166694"/>
                  <a:pt x="2687492" y="1151148"/>
                </a:cubicBezTo>
                <a:cubicBezTo>
                  <a:pt x="2715291" y="1176269"/>
                  <a:pt x="2719718" y="1207774"/>
                  <a:pt x="2716835" y="1245455"/>
                </a:cubicBezTo>
                <a:cubicBezTo>
                  <a:pt x="2714539" y="1241125"/>
                  <a:pt x="2711887" y="1236993"/>
                  <a:pt x="2708907" y="1233101"/>
                </a:cubicBezTo>
                <a:cubicBezTo>
                  <a:pt x="2706203" y="1229514"/>
                  <a:pt x="2701103" y="1228800"/>
                  <a:pt x="2697517" y="1231504"/>
                </a:cubicBezTo>
                <a:cubicBezTo>
                  <a:pt x="2695378" y="1233117"/>
                  <a:pt x="2694171" y="1235677"/>
                  <a:pt x="2694287" y="1238352"/>
                </a:cubicBezTo>
                <a:cubicBezTo>
                  <a:pt x="2695373" y="1245412"/>
                  <a:pt x="2692234" y="1252457"/>
                  <a:pt x="2686256" y="1256370"/>
                </a:cubicBezTo>
                <a:cubicBezTo>
                  <a:pt x="2680541" y="1258908"/>
                  <a:pt x="2673880" y="1257991"/>
                  <a:pt x="2669063" y="1254001"/>
                </a:cubicBezTo>
                <a:cubicBezTo>
                  <a:pt x="2665472" y="1251303"/>
                  <a:pt x="2660372" y="1252027"/>
                  <a:pt x="2657674" y="1255618"/>
                </a:cubicBezTo>
                <a:cubicBezTo>
                  <a:pt x="2655979" y="1257874"/>
                  <a:pt x="2655575" y="1260847"/>
                  <a:pt x="2656605" y="1263473"/>
                </a:cubicBezTo>
                <a:cubicBezTo>
                  <a:pt x="2657119" y="1264811"/>
                  <a:pt x="2657429" y="1265738"/>
                  <a:pt x="2657635" y="1266459"/>
                </a:cubicBezTo>
                <a:cubicBezTo>
                  <a:pt x="2656741" y="1267026"/>
                  <a:pt x="2655997" y="1267803"/>
                  <a:pt x="2655473" y="1268724"/>
                </a:cubicBezTo>
                <a:cubicBezTo>
                  <a:pt x="2640132" y="1292198"/>
                  <a:pt x="2631484" y="1294669"/>
                  <a:pt x="2629322" y="1293536"/>
                </a:cubicBezTo>
                <a:cubicBezTo>
                  <a:pt x="2619748" y="1288697"/>
                  <a:pt x="2616041" y="1242675"/>
                  <a:pt x="2628704" y="1210142"/>
                </a:cubicBezTo>
                <a:cubicBezTo>
                  <a:pt x="2630164" y="1206107"/>
                  <a:pt x="2628283" y="1201628"/>
                  <a:pt x="2624381" y="1199846"/>
                </a:cubicBezTo>
                <a:cubicBezTo>
                  <a:pt x="2623336" y="1199403"/>
                  <a:pt x="2622218" y="1199157"/>
                  <a:pt x="2621085" y="1199126"/>
                </a:cubicBezTo>
                <a:cubicBezTo>
                  <a:pt x="2618044" y="1199138"/>
                  <a:pt x="2615264" y="1200846"/>
                  <a:pt x="2613878" y="1203552"/>
                </a:cubicBezTo>
                <a:cubicBezTo>
                  <a:pt x="2609636" y="1210946"/>
                  <a:pt x="2604596" y="1217850"/>
                  <a:pt x="2598847" y="1224143"/>
                </a:cubicBezTo>
                <a:cubicBezTo>
                  <a:pt x="2597303" y="1225997"/>
                  <a:pt x="2595758" y="1227747"/>
                  <a:pt x="2594419" y="1229497"/>
                </a:cubicBezTo>
                <a:cubicBezTo>
                  <a:pt x="2581654" y="1210553"/>
                  <a:pt x="2587007" y="1183784"/>
                  <a:pt x="2592670" y="1155780"/>
                </a:cubicBezTo>
                <a:lnTo>
                  <a:pt x="2592670" y="1155678"/>
                </a:lnTo>
                <a:cubicBezTo>
                  <a:pt x="2597154" y="1137739"/>
                  <a:pt x="2599264" y="1119290"/>
                  <a:pt x="2598950" y="1100802"/>
                </a:cubicBezTo>
                <a:close/>
                <a:moveTo>
                  <a:pt x="2393346" y="1158355"/>
                </a:moveTo>
                <a:cubicBezTo>
                  <a:pt x="2394922" y="1159461"/>
                  <a:pt x="2396777" y="1160103"/>
                  <a:pt x="2398700" y="1160208"/>
                </a:cubicBezTo>
                <a:lnTo>
                  <a:pt x="2423822" y="1172048"/>
                </a:lnTo>
                <a:lnTo>
                  <a:pt x="2467578" y="1259664"/>
                </a:lnTo>
                <a:cubicBezTo>
                  <a:pt x="2467578" y="1259664"/>
                  <a:pt x="2520086" y="1426041"/>
                  <a:pt x="2534191" y="1430364"/>
                </a:cubicBezTo>
                <a:cubicBezTo>
                  <a:pt x="2533881" y="1432630"/>
                  <a:pt x="2533264" y="1434483"/>
                  <a:pt x="2532750" y="1436337"/>
                </a:cubicBezTo>
                <a:lnTo>
                  <a:pt x="2532750" y="1436233"/>
                </a:lnTo>
                <a:cubicBezTo>
                  <a:pt x="2530689" y="1444367"/>
                  <a:pt x="2529867" y="1446529"/>
                  <a:pt x="2524512" y="1445602"/>
                </a:cubicBezTo>
                <a:cubicBezTo>
                  <a:pt x="2514217" y="1423982"/>
                  <a:pt x="2396229" y="1211171"/>
                  <a:pt x="2393346" y="1158355"/>
                </a:cubicBezTo>
                <a:close/>
                <a:moveTo>
                  <a:pt x="2769136" y="957385"/>
                </a:moveTo>
                <a:cubicBezTo>
                  <a:pt x="2812894" y="976122"/>
                  <a:pt x="2801258" y="1052412"/>
                  <a:pt x="2776137" y="1087006"/>
                </a:cubicBezTo>
                <a:cubicBezTo>
                  <a:pt x="2777579" y="1092566"/>
                  <a:pt x="2776137" y="1097301"/>
                  <a:pt x="2767592" y="1099670"/>
                </a:cubicBezTo>
                <a:cubicBezTo>
                  <a:pt x="2766340" y="1100347"/>
                  <a:pt x="2764830" y="1100347"/>
                  <a:pt x="2763577" y="1099670"/>
                </a:cubicBezTo>
                <a:cubicBezTo>
                  <a:pt x="2760592" y="1101728"/>
                  <a:pt x="2772328" y="1117687"/>
                  <a:pt x="2769136" y="1118304"/>
                </a:cubicBezTo>
                <a:cubicBezTo>
                  <a:pt x="2786125" y="1132718"/>
                  <a:pt x="2761518" y="1154751"/>
                  <a:pt x="2744015" y="1168960"/>
                </a:cubicBezTo>
                <a:cubicBezTo>
                  <a:pt x="2754311" y="1137557"/>
                  <a:pt x="2729705" y="983947"/>
                  <a:pt x="2769136" y="957487"/>
                </a:cubicBezTo>
                <a:close/>
                <a:moveTo>
                  <a:pt x="808131" y="1516642"/>
                </a:moveTo>
                <a:cubicBezTo>
                  <a:pt x="822853" y="1510465"/>
                  <a:pt x="1433692" y="1524261"/>
                  <a:pt x="1494745" y="1557825"/>
                </a:cubicBezTo>
                <a:cubicBezTo>
                  <a:pt x="1477242" y="1570076"/>
                  <a:pt x="1419896" y="1570180"/>
                  <a:pt x="1384274" y="1570076"/>
                </a:cubicBezTo>
                <a:cubicBezTo>
                  <a:pt x="1369139" y="1570076"/>
                  <a:pt x="1343606" y="1570694"/>
                  <a:pt x="1343606" y="1570694"/>
                </a:cubicBezTo>
                <a:cubicBezTo>
                  <a:pt x="1298510" y="1567812"/>
                  <a:pt x="1252695" y="1564414"/>
                  <a:pt x="1207395" y="1561119"/>
                </a:cubicBezTo>
                <a:cubicBezTo>
                  <a:pt x="1128531" y="1555250"/>
                  <a:pt x="1054196" y="1549794"/>
                  <a:pt x="985010" y="1546499"/>
                </a:cubicBezTo>
                <a:lnTo>
                  <a:pt x="985009" y="1548558"/>
                </a:lnTo>
                <a:cubicBezTo>
                  <a:pt x="982024" y="1539705"/>
                  <a:pt x="967713" y="1537131"/>
                  <a:pt x="954843" y="1534866"/>
                </a:cubicBezTo>
                <a:close/>
                <a:moveTo>
                  <a:pt x="1627147" y="1234645"/>
                </a:moveTo>
                <a:cubicBezTo>
                  <a:pt x="1657416" y="1300537"/>
                  <a:pt x="1656386" y="1423775"/>
                  <a:pt x="1613763" y="1488638"/>
                </a:cubicBezTo>
                <a:cubicBezTo>
                  <a:pt x="1612115" y="1439734"/>
                  <a:pt x="1621073" y="1286638"/>
                  <a:pt x="1627147" y="1234748"/>
                </a:cubicBezTo>
                <a:close/>
                <a:moveTo>
                  <a:pt x="1735730" y="943844"/>
                </a:moveTo>
                <a:cubicBezTo>
                  <a:pt x="1737774" y="944054"/>
                  <a:pt x="1739662" y="945029"/>
                  <a:pt x="1741017" y="946573"/>
                </a:cubicBezTo>
                <a:cubicBezTo>
                  <a:pt x="1744928" y="951103"/>
                  <a:pt x="1753164" y="960473"/>
                  <a:pt x="1743692" y="1404112"/>
                </a:cubicBezTo>
                <a:lnTo>
                  <a:pt x="1743693" y="1413789"/>
                </a:lnTo>
                <a:cubicBezTo>
                  <a:pt x="1745444" y="1485858"/>
                  <a:pt x="1747194" y="1560193"/>
                  <a:pt x="1745444" y="1582637"/>
                </a:cubicBezTo>
                <a:cubicBezTo>
                  <a:pt x="1745228" y="1585544"/>
                  <a:pt x="1743455" y="1588105"/>
                  <a:pt x="1740810" y="1589329"/>
                </a:cubicBezTo>
                <a:cubicBezTo>
                  <a:pt x="1739718" y="1589856"/>
                  <a:pt x="1738522" y="1590136"/>
                  <a:pt x="1737310" y="1590153"/>
                </a:cubicBezTo>
                <a:cubicBezTo>
                  <a:pt x="1735658" y="1590136"/>
                  <a:pt x="1734047" y="1589635"/>
                  <a:pt x="1732676" y="1588712"/>
                </a:cubicBezTo>
                <a:cubicBezTo>
                  <a:pt x="1659269" y="1538365"/>
                  <a:pt x="1682023" y="1396699"/>
                  <a:pt x="1698702" y="1293330"/>
                </a:cubicBezTo>
                <a:lnTo>
                  <a:pt x="1698701" y="1293227"/>
                </a:lnTo>
                <a:cubicBezTo>
                  <a:pt x="1701070" y="1278401"/>
                  <a:pt x="1711777" y="1141676"/>
                  <a:pt x="1718778" y="1051281"/>
                </a:cubicBezTo>
                <a:cubicBezTo>
                  <a:pt x="1722794" y="998979"/>
                  <a:pt x="1726088" y="957693"/>
                  <a:pt x="1726808" y="951103"/>
                </a:cubicBezTo>
                <a:cubicBezTo>
                  <a:pt x="1727267" y="946635"/>
                  <a:pt x="1731262" y="943385"/>
                  <a:pt x="1735730" y="943844"/>
                </a:cubicBezTo>
                <a:close/>
                <a:moveTo>
                  <a:pt x="1594716" y="939264"/>
                </a:moveTo>
                <a:cubicBezTo>
                  <a:pt x="1617881" y="1113569"/>
                  <a:pt x="1618705" y="1251221"/>
                  <a:pt x="1597290" y="1349956"/>
                </a:cubicBezTo>
                <a:lnTo>
                  <a:pt x="1597290" y="1349853"/>
                </a:lnTo>
                <a:cubicBezTo>
                  <a:pt x="1597805" y="1302184"/>
                  <a:pt x="1595540" y="1250809"/>
                  <a:pt x="1593069" y="1197272"/>
                </a:cubicBezTo>
                <a:cubicBezTo>
                  <a:pt x="1589054" y="1107906"/>
                  <a:pt x="1584935" y="1015760"/>
                  <a:pt x="1594716" y="939264"/>
                </a:cubicBezTo>
                <a:close/>
                <a:moveTo>
                  <a:pt x="1513792" y="661283"/>
                </a:moveTo>
                <a:cubicBezTo>
                  <a:pt x="1517704" y="707510"/>
                  <a:pt x="1523059" y="753119"/>
                  <a:pt x="1529646" y="797597"/>
                </a:cubicBezTo>
                <a:cubicBezTo>
                  <a:pt x="1530256" y="801561"/>
                  <a:pt x="1533667" y="804491"/>
                  <a:pt x="1537678" y="804494"/>
                </a:cubicBezTo>
                <a:cubicBezTo>
                  <a:pt x="1541689" y="804491"/>
                  <a:pt x="1545100" y="801561"/>
                  <a:pt x="1545708" y="797597"/>
                </a:cubicBezTo>
                <a:cubicBezTo>
                  <a:pt x="1546533" y="792036"/>
                  <a:pt x="1547355" y="786374"/>
                  <a:pt x="1548076" y="780609"/>
                </a:cubicBezTo>
                <a:cubicBezTo>
                  <a:pt x="1547562" y="816746"/>
                  <a:pt x="1546533" y="847221"/>
                  <a:pt x="1545502" y="870490"/>
                </a:cubicBezTo>
                <a:lnTo>
                  <a:pt x="1544267" y="870489"/>
                </a:lnTo>
                <a:cubicBezTo>
                  <a:pt x="1531500" y="877182"/>
                  <a:pt x="1528825" y="913215"/>
                  <a:pt x="1533972" y="1008965"/>
                </a:cubicBezTo>
                <a:cubicBezTo>
                  <a:pt x="1531398" y="966753"/>
                  <a:pt x="1529132" y="923718"/>
                  <a:pt x="1526662" y="880167"/>
                </a:cubicBezTo>
                <a:cubicBezTo>
                  <a:pt x="1522750" y="807274"/>
                  <a:pt x="1518734" y="733557"/>
                  <a:pt x="1513792" y="661283"/>
                </a:cubicBezTo>
                <a:close/>
                <a:moveTo>
                  <a:pt x="1135016" y="705451"/>
                </a:moveTo>
                <a:cubicBezTo>
                  <a:pt x="1172919" y="783162"/>
                  <a:pt x="1206601" y="862864"/>
                  <a:pt x="1235914" y="944206"/>
                </a:cubicBezTo>
                <a:cubicBezTo>
                  <a:pt x="1265976" y="1022761"/>
                  <a:pt x="1296760" y="1103376"/>
                  <a:pt x="1332589" y="1174725"/>
                </a:cubicBezTo>
                <a:cubicBezTo>
                  <a:pt x="1265050" y="1052619"/>
                  <a:pt x="1206982" y="915069"/>
                  <a:pt x="1135016" y="705451"/>
                </a:cubicBezTo>
                <a:close/>
                <a:moveTo>
                  <a:pt x="308176" y="823130"/>
                </a:moveTo>
                <a:cubicBezTo>
                  <a:pt x="391055" y="879446"/>
                  <a:pt x="472906" y="942147"/>
                  <a:pt x="552181" y="1003097"/>
                </a:cubicBezTo>
                <a:cubicBezTo>
                  <a:pt x="693540" y="1111715"/>
                  <a:pt x="839636" y="1223835"/>
                  <a:pt x="998702" y="1305788"/>
                </a:cubicBezTo>
                <a:cubicBezTo>
                  <a:pt x="969463" y="1300640"/>
                  <a:pt x="914999" y="1269960"/>
                  <a:pt x="836443" y="1214261"/>
                </a:cubicBezTo>
                <a:lnTo>
                  <a:pt x="827899" y="1208289"/>
                </a:lnTo>
                <a:lnTo>
                  <a:pt x="764786" y="1166076"/>
                </a:lnTo>
                <a:cubicBezTo>
                  <a:pt x="608087" y="1061474"/>
                  <a:pt x="446548" y="953574"/>
                  <a:pt x="308176" y="823130"/>
                </a:cubicBezTo>
                <a:close/>
                <a:moveTo>
                  <a:pt x="1555284" y="71961"/>
                </a:moveTo>
                <a:cubicBezTo>
                  <a:pt x="1557034" y="126013"/>
                  <a:pt x="1557034" y="189846"/>
                  <a:pt x="1557137" y="256252"/>
                </a:cubicBezTo>
                <a:cubicBezTo>
                  <a:pt x="1557136" y="295376"/>
                  <a:pt x="1557137" y="335014"/>
                  <a:pt x="1557754" y="373211"/>
                </a:cubicBezTo>
                <a:cubicBezTo>
                  <a:pt x="1555970" y="345139"/>
                  <a:pt x="1553773" y="317203"/>
                  <a:pt x="1551166" y="289405"/>
                </a:cubicBezTo>
                <a:cubicBezTo>
                  <a:pt x="1550688" y="285181"/>
                  <a:pt x="1547076" y="282015"/>
                  <a:pt x="1542825" y="282095"/>
                </a:cubicBezTo>
                <a:cubicBezTo>
                  <a:pt x="1538531" y="282201"/>
                  <a:pt x="1535060" y="285627"/>
                  <a:pt x="1534898" y="289919"/>
                </a:cubicBezTo>
                <a:cubicBezTo>
                  <a:pt x="1532839" y="347368"/>
                  <a:pt x="1534897" y="412643"/>
                  <a:pt x="1536957" y="481830"/>
                </a:cubicBezTo>
                <a:cubicBezTo>
                  <a:pt x="1539428" y="566459"/>
                  <a:pt x="1542105" y="653458"/>
                  <a:pt x="1536956" y="728925"/>
                </a:cubicBezTo>
                <a:cubicBezTo>
                  <a:pt x="1511321" y="509422"/>
                  <a:pt x="1518117" y="268195"/>
                  <a:pt x="1555284" y="71961"/>
                </a:cubicBezTo>
                <a:close/>
                <a:moveTo>
                  <a:pt x="693540" y="231441"/>
                </a:moveTo>
                <a:cubicBezTo>
                  <a:pt x="691192" y="232894"/>
                  <a:pt x="689784" y="235476"/>
                  <a:pt x="689834" y="238235"/>
                </a:cubicBezTo>
                <a:lnTo>
                  <a:pt x="689834" y="269122"/>
                </a:lnTo>
                <a:cubicBezTo>
                  <a:pt x="689860" y="270334"/>
                  <a:pt x="690141" y="271527"/>
                  <a:pt x="690658" y="272623"/>
                </a:cubicBezTo>
                <a:lnTo>
                  <a:pt x="721338" y="333469"/>
                </a:lnTo>
                <a:cubicBezTo>
                  <a:pt x="786303" y="579638"/>
                  <a:pt x="896363" y="774328"/>
                  <a:pt x="1034016" y="1003303"/>
                </a:cubicBezTo>
                <a:lnTo>
                  <a:pt x="1051313" y="1031924"/>
                </a:lnTo>
                <a:lnTo>
                  <a:pt x="1053268" y="1034190"/>
                </a:lnTo>
                <a:cubicBezTo>
                  <a:pt x="1094451" y="1070224"/>
                  <a:pt x="1128529" y="1114908"/>
                  <a:pt x="1161578" y="1158458"/>
                </a:cubicBezTo>
                <a:cubicBezTo>
                  <a:pt x="1162505" y="1159694"/>
                  <a:pt x="1254239" y="1279740"/>
                  <a:pt x="1270609" y="1279740"/>
                </a:cubicBezTo>
                <a:cubicBezTo>
                  <a:pt x="1274286" y="1279806"/>
                  <a:pt x="1277527" y="1277334"/>
                  <a:pt x="1278434" y="1273769"/>
                </a:cubicBezTo>
                <a:lnTo>
                  <a:pt x="1281831" y="1261620"/>
                </a:lnTo>
                <a:cubicBezTo>
                  <a:pt x="1282343" y="1260048"/>
                  <a:pt x="1282343" y="1258353"/>
                  <a:pt x="1281831" y="1256781"/>
                </a:cubicBezTo>
                <a:cubicBezTo>
                  <a:pt x="1260949" y="1216925"/>
                  <a:pt x="1236846" y="1178843"/>
                  <a:pt x="1209762" y="1142912"/>
                </a:cubicBezTo>
                <a:cubicBezTo>
                  <a:pt x="1194801" y="1125925"/>
                  <a:pt x="1181299" y="1107706"/>
                  <a:pt x="1169403" y="1088448"/>
                </a:cubicBezTo>
                <a:cubicBezTo>
                  <a:pt x="1077978" y="971799"/>
                  <a:pt x="1004673" y="845471"/>
                  <a:pt x="926530" y="711629"/>
                </a:cubicBezTo>
                <a:cubicBezTo>
                  <a:pt x="915411" y="692684"/>
                  <a:pt x="904394" y="673534"/>
                  <a:pt x="893173" y="654487"/>
                </a:cubicBezTo>
                <a:cubicBezTo>
                  <a:pt x="846327" y="574491"/>
                  <a:pt x="804012" y="463915"/>
                  <a:pt x="769625" y="374961"/>
                </a:cubicBezTo>
                <a:cubicBezTo>
                  <a:pt x="733076" y="279521"/>
                  <a:pt x="716293" y="237103"/>
                  <a:pt x="701262" y="230822"/>
                </a:cubicBezTo>
                <a:cubicBezTo>
                  <a:pt x="698756" y="229671"/>
                  <a:pt x="695832" y="229906"/>
                  <a:pt x="693540" y="231441"/>
                </a:cubicBezTo>
                <a:close/>
                <a:moveTo>
                  <a:pt x="233327" y="166165"/>
                </a:moveTo>
                <a:cubicBezTo>
                  <a:pt x="229505" y="168022"/>
                  <a:pt x="227754" y="172508"/>
                  <a:pt x="229311" y="176461"/>
                </a:cubicBezTo>
                <a:cubicBezTo>
                  <a:pt x="343387" y="500155"/>
                  <a:pt x="595835" y="775975"/>
                  <a:pt x="840047" y="1042735"/>
                </a:cubicBezTo>
                <a:lnTo>
                  <a:pt x="870934" y="1075886"/>
                </a:lnTo>
                <a:cubicBezTo>
                  <a:pt x="696938" y="917746"/>
                  <a:pt x="548475" y="720482"/>
                  <a:pt x="404130" y="528880"/>
                </a:cubicBezTo>
                <a:cubicBezTo>
                  <a:pt x="348122" y="454547"/>
                  <a:pt x="290261" y="377741"/>
                  <a:pt x="232503" y="305466"/>
                </a:cubicBezTo>
                <a:cubicBezTo>
                  <a:pt x="229669" y="301980"/>
                  <a:pt x="224546" y="301452"/>
                  <a:pt x="221060" y="304286"/>
                </a:cubicBezTo>
                <a:cubicBezTo>
                  <a:pt x="218176" y="306631"/>
                  <a:pt x="217248" y="310636"/>
                  <a:pt x="218809" y="314011"/>
                </a:cubicBezTo>
                <a:cubicBezTo>
                  <a:pt x="398880" y="697420"/>
                  <a:pt x="707337" y="1058591"/>
                  <a:pt x="1074890" y="1319481"/>
                </a:cubicBezTo>
                <a:cubicBezTo>
                  <a:pt x="711661" y="1122115"/>
                  <a:pt x="428017" y="767636"/>
                  <a:pt x="196160" y="477814"/>
                </a:cubicBezTo>
                <a:cubicBezTo>
                  <a:pt x="156932" y="428807"/>
                  <a:pt x="119972" y="382580"/>
                  <a:pt x="83525" y="338103"/>
                </a:cubicBezTo>
                <a:cubicBezTo>
                  <a:pt x="81408" y="335536"/>
                  <a:pt x="77942" y="334517"/>
                  <a:pt x="74774" y="335529"/>
                </a:cubicBezTo>
                <a:cubicBezTo>
                  <a:pt x="69818" y="336993"/>
                  <a:pt x="65942" y="340869"/>
                  <a:pt x="64478" y="345825"/>
                </a:cubicBezTo>
                <a:cubicBezTo>
                  <a:pt x="51712" y="387315"/>
                  <a:pt x="211912" y="580359"/>
                  <a:pt x="438415" y="848456"/>
                </a:cubicBezTo>
                <a:cubicBezTo>
                  <a:pt x="467860" y="883359"/>
                  <a:pt x="496380" y="916922"/>
                  <a:pt x="521913" y="947501"/>
                </a:cubicBezTo>
                <a:cubicBezTo>
                  <a:pt x="461168" y="901479"/>
                  <a:pt x="401454" y="851648"/>
                  <a:pt x="343387" y="803362"/>
                </a:cubicBezTo>
                <a:cubicBezTo>
                  <a:pt x="252271" y="727071"/>
                  <a:pt x="158065" y="648310"/>
                  <a:pt x="59331" y="584477"/>
                </a:cubicBezTo>
                <a:cubicBezTo>
                  <a:pt x="56009" y="582371"/>
                  <a:pt x="51650" y="582982"/>
                  <a:pt x="49035" y="585918"/>
                </a:cubicBezTo>
                <a:cubicBezTo>
                  <a:pt x="46586" y="588914"/>
                  <a:pt x="46586" y="593219"/>
                  <a:pt x="49035" y="596214"/>
                </a:cubicBezTo>
                <a:cubicBezTo>
                  <a:pt x="440989" y="1043352"/>
                  <a:pt x="985936" y="1406685"/>
                  <a:pt x="1343606" y="1459811"/>
                </a:cubicBezTo>
                <a:cubicBezTo>
                  <a:pt x="1349062" y="1461355"/>
                  <a:pt x="1352047" y="1465165"/>
                  <a:pt x="1356784" y="1471856"/>
                </a:cubicBezTo>
                <a:lnTo>
                  <a:pt x="1358329" y="1474018"/>
                </a:lnTo>
                <a:cubicBezTo>
                  <a:pt x="1204717" y="1448177"/>
                  <a:pt x="824398" y="1357781"/>
                  <a:pt x="39151" y="853089"/>
                </a:cubicBezTo>
                <a:lnTo>
                  <a:pt x="14853" y="837544"/>
                </a:lnTo>
                <a:cubicBezTo>
                  <a:pt x="12160" y="835796"/>
                  <a:pt x="8692" y="835796"/>
                  <a:pt x="5999" y="837544"/>
                </a:cubicBezTo>
                <a:cubicBezTo>
                  <a:pt x="1505" y="840490"/>
                  <a:pt x="-771" y="845855"/>
                  <a:pt x="234" y="851134"/>
                </a:cubicBezTo>
                <a:cubicBezTo>
                  <a:pt x="10530" y="919908"/>
                  <a:pt x="765404" y="1347176"/>
                  <a:pt x="1236428" y="1489462"/>
                </a:cubicBezTo>
                <a:cubicBezTo>
                  <a:pt x="993966" y="1507376"/>
                  <a:pt x="759741" y="1444779"/>
                  <a:pt x="532826" y="1384035"/>
                </a:cubicBezTo>
                <a:cubicBezTo>
                  <a:pt x="484333" y="1371062"/>
                  <a:pt x="434193" y="1357678"/>
                  <a:pt x="384878" y="1345323"/>
                </a:cubicBezTo>
                <a:cubicBezTo>
                  <a:pt x="382071" y="1344618"/>
                  <a:pt x="379101" y="1345440"/>
                  <a:pt x="377054" y="1347485"/>
                </a:cubicBezTo>
                <a:cubicBezTo>
                  <a:pt x="375062" y="1349564"/>
                  <a:pt x="374284" y="1352521"/>
                  <a:pt x="374994" y="1355310"/>
                </a:cubicBezTo>
                <a:cubicBezTo>
                  <a:pt x="382819" y="1385270"/>
                  <a:pt x="481760" y="1418114"/>
                  <a:pt x="631766" y="1464753"/>
                </a:cubicBezTo>
                <a:cubicBezTo>
                  <a:pt x="696011" y="1484726"/>
                  <a:pt x="756653" y="1503567"/>
                  <a:pt x="771685" y="1514171"/>
                </a:cubicBezTo>
                <a:cubicBezTo>
                  <a:pt x="775349" y="1515773"/>
                  <a:pt x="778805" y="1517813"/>
                  <a:pt x="781979" y="1520246"/>
                </a:cubicBezTo>
                <a:cubicBezTo>
                  <a:pt x="756344" y="1535175"/>
                  <a:pt x="574935" y="1534351"/>
                  <a:pt x="453446" y="1533733"/>
                </a:cubicBezTo>
                <a:cubicBezTo>
                  <a:pt x="256800" y="1532909"/>
                  <a:pt x="206352" y="1534453"/>
                  <a:pt x="198527" y="1547941"/>
                </a:cubicBezTo>
                <a:cubicBezTo>
                  <a:pt x="196688" y="1551127"/>
                  <a:pt x="196689" y="1555052"/>
                  <a:pt x="198527" y="1558237"/>
                </a:cubicBezTo>
                <a:cubicBezTo>
                  <a:pt x="199846" y="1560609"/>
                  <a:pt x="202302" y="1562129"/>
                  <a:pt x="205014" y="1562253"/>
                </a:cubicBezTo>
                <a:cubicBezTo>
                  <a:pt x="516353" y="1580371"/>
                  <a:pt x="749960" y="1579240"/>
                  <a:pt x="937752" y="1578313"/>
                </a:cubicBezTo>
                <a:cubicBezTo>
                  <a:pt x="1076023" y="1577695"/>
                  <a:pt x="1189481" y="1577181"/>
                  <a:pt x="1291510" y="1584490"/>
                </a:cubicBezTo>
                <a:lnTo>
                  <a:pt x="1281214" y="1586344"/>
                </a:lnTo>
                <a:cubicBezTo>
                  <a:pt x="1245591" y="1593035"/>
                  <a:pt x="1209144" y="1600037"/>
                  <a:pt x="1190510" y="1609611"/>
                </a:cubicBezTo>
                <a:cubicBezTo>
                  <a:pt x="1188198" y="1610830"/>
                  <a:pt x="1186624" y="1613095"/>
                  <a:pt x="1186288" y="1615686"/>
                </a:cubicBezTo>
                <a:cubicBezTo>
                  <a:pt x="986759" y="1627938"/>
                  <a:pt x="757580" y="1628967"/>
                  <a:pt x="645357" y="1592933"/>
                </a:cubicBezTo>
                <a:cubicBezTo>
                  <a:pt x="641069" y="1591596"/>
                  <a:pt x="636508" y="1593989"/>
                  <a:pt x="635171" y="1598277"/>
                </a:cubicBezTo>
                <a:cubicBezTo>
                  <a:pt x="634176" y="1601469"/>
                  <a:pt x="635235" y="1604944"/>
                  <a:pt x="637841" y="1607038"/>
                </a:cubicBezTo>
                <a:cubicBezTo>
                  <a:pt x="776831" y="1717818"/>
                  <a:pt x="1004572" y="1689402"/>
                  <a:pt x="1208630" y="1660679"/>
                </a:cubicBezTo>
                <a:cubicBezTo>
                  <a:pt x="879994" y="1732748"/>
                  <a:pt x="477641" y="1770018"/>
                  <a:pt x="296336" y="1765693"/>
                </a:cubicBezTo>
                <a:cubicBezTo>
                  <a:pt x="293151" y="1765676"/>
                  <a:pt x="290235" y="1767474"/>
                  <a:pt x="288821" y="1770326"/>
                </a:cubicBezTo>
                <a:cubicBezTo>
                  <a:pt x="285701" y="1776112"/>
                  <a:pt x="286223" y="1783182"/>
                  <a:pt x="290158" y="1788447"/>
                </a:cubicBezTo>
                <a:cubicBezTo>
                  <a:pt x="323516" y="1833232"/>
                  <a:pt x="703631" y="1785769"/>
                  <a:pt x="1306130" y="1694756"/>
                </a:cubicBezTo>
                <a:cubicBezTo>
                  <a:pt x="1369447" y="1685284"/>
                  <a:pt x="1424221" y="1676945"/>
                  <a:pt x="1464991" y="1671179"/>
                </a:cubicBezTo>
                <a:cubicBezTo>
                  <a:pt x="1354519" y="1718540"/>
                  <a:pt x="1221911" y="1765693"/>
                  <a:pt x="1082612" y="1815318"/>
                </a:cubicBezTo>
                <a:cubicBezTo>
                  <a:pt x="798453" y="1916318"/>
                  <a:pt x="476406" y="2030805"/>
                  <a:pt x="197189" y="2194712"/>
                </a:cubicBezTo>
                <a:cubicBezTo>
                  <a:pt x="193639" y="2196811"/>
                  <a:pt x="192223" y="2201237"/>
                  <a:pt x="193894" y="2205007"/>
                </a:cubicBezTo>
                <a:cubicBezTo>
                  <a:pt x="195519" y="2209070"/>
                  <a:pt x="200097" y="2211084"/>
                  <a:pt x="204190" y="2209537"/>
                </a:cubicBezTo>
                <a:cubicBezTo>
                  <a:pt x="489482" y="2122334"/>
                  <a:pt x="762727" y="2008052"/>
                  <a:pt x="1027016" y="1897683"/>
                </a:cubicBezTo>
                <a:cubicBezTo>
                  <a:pt x="1152312" y="1845279"/>
                  <a:pt x="1281111" y="1791432"/>
                  <a:pt x="1411557" y="1740263"/>
                </a:cubicBezTo>
                <a:cubicBezTo>
                  <a:pt x="1287391" y="1812332"/>
                  <a:pt x="1135428" y="1885123"/>
                  <a:pt x="987687" y="1956472"/>
                </a:cubicBezTo>
                <a:cubicBezTo>
                  <a:pt x="792070" y="2050264"/>
                  <a:pt x="590482" y="2147249"/>
                  <a:pt x="450254" y="2242483"/>
                </a:cubicBezTo>
                <a:cubicBezTo>
                  <a:pt x="446551" y="2245023"/>
                  <a:pt x="445607" y="2250086"/>
                  <a:pt x="448146" y="2253790"/>
                </a:cubicBezTo>
                <a:cubicBezTo>
                  <a:pt x="450050" y="2256567"/>
                  <a:pt x="453467" y="2257883"/>
                  <a:pt x="456741" y="2257104"/>
                </a:cubicBezTo>
                <a:cubicBezTo>
                  <a:pt x="588731" y="2223951"/>
                  <a:pt x="755932" y="2127379"/>
                  <a:pt x="932605" y="2025349"/>
                </a:cubicBezTo>
                <a:cubicBezTo>
                  <a:pt x="1185054" y="1879563"/>
                  <a:pt x="1534897" y="1721834"/>
                  <a:pt x="1600482" y="1713804"/>
                </a:cubicBezTo>
                <a:cubicBezTo>
                  <a:pt x="1601098" y="1713804"/>
                  <a:pt x="1695407" y="1724100"/>
                  <a:pt x="1695921" y="1723584"/>
                </a:cubicBezTo>
                <a:cubicBezTo>
                  <a:pt x="1716513" y="1727600"/>
                  <a:pt x="1906055" y="1767237"/>
                  <a:pt x="1929426" y="1782887"/>
                </a:cubicBezTo>
                <a:cubicBezTo>
                  <a:pt x="1932927" y="1793182"/>
                  <a:pt x="1957636" y="1852589"/>
                  <a:pt x="1961960" y="1860001"/>
                </a:cubicBezTo>
                <a:cubicBezTo>
                  <a:pt x="1971741" y="1876268"/>
                  <a:pt x="1991612" y="1909626"/>
                  <a:pt x="2053901" y="2064163"/>
                </a:cubicBezTo>
                <a:cubicBezTo>
                  <a:pt x="2001495" y="2048926"/>
                  <a:pt x="1950944" y="2021540"/>
                  <a:pt x="1902658" y="1994873"/>
                </a:cubicBezTo>
                <a:cubicBezTo>
                  <a:pt x="1836251" y="1958531"/>
                  <a:pt x="1767579" y="1920950"/>
                  <a:pt x="1691700" y="1913127"/>
                </a:cubicBezTo>
                <a:cubicBezTo>
                  <a:pt x="1687235" y="1912635"/>
                  <a:pt x="1683217" y="1915856"/>
                  <a:pt x="1682726" y="1920321"/>
                </a:cubicBezTo>
                <a:cubicBezTo>
                  <a:pt x="1682416" y="1923136"/>
                  <a:pt x="1683592" y="1925910"/>
                  <a:pt x="1685832" y="1927644"/>
                </a:cubicBezTo>
                <a:cubicBezTo>
                  <a:pt x="1790375" y="2006216"/>
                  <a:pt x="1909724" y="2062844"/>
                  <a:pt x="2036707" y="2094124"/>
                </a:cubicBezTo>
                <a:cubicBezTo>
                  <a:pt x="1750591" y="2148382"/>
                  <a:pt x="1285127" y="2226010"/>
                  <a:pt x="1211101" y="2345543"/>
                </a:cubicBezTo>
                <a:cubicBezTo>
                  <a:pt x="1209263" y="2348559"/>
                  <a:pt x="1209553" y="2352410"/>
                  <a:pt x="1211822" y="2355118"/>
                </a:cubicBezTo>
                <a:cubicBezTo>
                  <a:pt x="1214148" y="2357784"/>
                  <a:pt x="1217903" y="2358691"/>
                  <a:pt x="1221191" y="2357382"/>
                </a:cubicBezTo>
                <a:cubicBezTo>
                  <a:pt x="1518117" y="2233835"/>
                  <a:pt x="1811438" y="2157545"/>
                  <a:pt x="2035059" y="2144675"/>
                </a:cubicBezTo>
                <a:cubicBezTo>
                  <a:pt x="1806187" y="2247632"/>
                  <a:pt x="1526661" y="2446852"/>
                  <a:pt x="1368521" y="2622289"/>
                </a:cubicBezTo>
                <a:cubicBezTo>
                  <a:pt x="1366584" y="2624440"/>
                  <a:pt x="1365921" y="2627450"/>
                  <a:pt x="1366771" y="2630216"/>
                </a:cubicBezTo>
                <a:cubicBezTo>
                  <a:pt x="1367615" y="2632951"/>
                  <a:pt x="1369850" y="2635030"/>
                  <a:pt x="1372639" y="2635673"/>
                </a:cubicBezTo>
                <a:cubicBezTo>
                  <a:pt x="1403526" y="2643189"/>
                  <a:pt x="1503805" y="2549808"/>
                  <a:pt x="1693862" y="2410611"/>
                </a:cubicBezTo>
                <a:cubicBezTo>
                  <a:pt x="1833677" y="2308272"/>
                  <a:pt x="2085096" y="2145911"/>
                  <a:pt x="2110731" y="2164443"/>
                </a:cubicBezTo>
                <a:cubicBezTo>
                  <a:pt x="2111485" y="2165931"/>
                  <a:pt x="2111485" y="2167690"/>
                  <a:pt x="2110731" y="2169178"/>
                </a:cubicBezTo>
                <a:cubicBezTo>
                  <a:pt x="2106717" y="2179474"/>
                  <a:pt x="2077478" y="2187813"/>
                  <a:pt x="2056165" y="2194094"/>
                </a:cubicBezTo>
                <a:cubicBezTo>
                  <a:pt x="2027028" y="2202742"/>
                  <a:pt x="2005717" y="2209022"/>
                  <a:pt x="2006334" y="2223951"/>
                </a:cubicBezTo>
                <a:cubicBezTo>
                  <a:pt x="2004912" y="2229003"/>
                  <a:pt x="2006153" y="2234432"/>
                  <a:pt x="2009628" y="2238365"/>
                </a:cubicBezTo>
                <a:cubicBezTo>
                  <a:pt x="2015497" y="2243925"/>
                  <a:pt x="2023425" y="2241968"/>
                  <a:pt x="2035574" y="2238879"/>
                </a:cubicBezTo>
                <a:cubicBezTo>
                  <a:pt x="2047123" y="2235709"/>
                  <a:pt x="2058947" y="2233640"/>
                  <a:pt x="2070888" y="2232702"/>
                </a:cubicBezTo>
                <a:cubicBezTo>
                  <a:pt x="2070276" y="2237910"/>
                  <a:pt x="2072422" y="2243060"/>
                  <a:pt x="2076550" y="2246292"/>
                </a:cubicBezTo>
                <a:cubicBezTo>
                  <a:pt x="2088288" y="2254838"/>
                  <a:pt x="2108467" y="2243101"/>
                  <a:pt x="2149340" y="2213758"/>
                </a:cubicBezTo>
                <a:cubicBezTo>
                  <a:pt x="2154693" y="2210053"/>
                  <a:pt x="2160460" y="2205830"/>
                  <a:pt x="2163651" y="2203463"/>
                </a:cubicBezTo>
                <a:cubicBezTo>
                  <a:pt x="2173947" y="2208920"/>
                  <a:pt x="2181463" y="2211906"/>
                  <a:pt x="2187125" y="2207170"/>
                </a:cubicBezTo>
                <a:cubicBezTo>
                  <a:pt x="2192788" y="2202433"/>
                  <a:pt x="2190729" y="2194711"/>
                  <a:pt x="2188052" y="2186579"/>
                </a:cubicBezTo>
                <a:cubicBezTo>
                  <a:pt x="2184757" y="2176283"/>
                  <a:pt x="2180227" y="2162898"/>
                  <a:pt x="2188052" y="2153529"/>
                </a:cubicBezTo>
                <a:cubicBezTo>
                  <a:pt x="2195876" y="2144161"/>
                  <a:pt x="2213996" y="2136541"/>
                  <a:pt x="2263210" y="2138600"/>
                </a:cubicBezTo>
                <a:cubicBezTo>
                  <a:pt x="2235823" y="2149514"/>
                  <a:pt x="2218527" y="2161869"/>
                  <a:pt x="2216056" y="2173194"/>
                </a:cubicBezTo>
                <a:cubicBezTo>
                  <a:pt x="2214878" y="2177980"/>
                  <a:pt x="2216610" y="2183014"/>
                  <a:pt x="2220483" y="2186063"/>
                </a:cubicBezTo>
                <a:cubicBezTo>
                  <a:pt x="2230058" y="2194094"/>
                  <a:pt x="2252400" y="2190491"/>
                  <a:pt x="2274227" y="2184211"/>
                </a:cubicBezTo>
                <a:cubicBezTo>
                  <a:pt x="2256002" y="2200684"/>
                  <a:pt x="2256724" y="2203772"/>
                  <a:pt x="2260430" y="2209022"/>
                </a:cubicBezTo>
                <a:cubicBezTo>
                  <a:pt x="2266608" y="2217671"/>
                  <a:pt x="2270726" y="2215200"/>
                  <a:pt x="2340735" y="2173708"/>
                </a:cubicBezTo>
                <a:cubicBezTo>
                  <a:pt x="2396024" y="2140969"/>
                  <a:pt x="2478697" y="2091962"/>
                  <a:pt x="2537382" y="2068076"/>
                </a:cubicBezTo>
                <a:cubicBezTo>
                  <a:pt x="2326220" y="2198006"/>
                  <a:pt x="1867447" y="2495859"/>
                  <a:pt x="1780037" y="2626407"/>
                </a:cubicBezTo>
                <a:cubicBezTo>
                  <a:pt x="1777885" y="2629630"/>
                  <a:pt x="1778271" y="2633916"/>
                  <a:pt x="1780964" y="2636703"/>
                </a:cubicBezTo>
                <a:cubicBezTo>
                  <a:pt x="1783742" y="2639390"/>
                  <a:pt x="1788003" y="2639817"/>
                  <a:pt x="1791259" y="2637732"/>
                </a:cubicBezTo>
                <a:cubicBezTo>
                  <a:pt x="1874859" y="2582342"/>
                  <a:pt x="1962784" y="2514185"/>
                  <a:pt x="2055958" y="2441189"/>
                </a:cubicBezTo>
                <a:cubicBezTo>
                  <a:pt x="2240457" y="2297050"/>
                  <a:pt x="2431132" y="2148999"/>
                  <a:pt x="2614290" y="2080842"/>
                </a:cubicBezTo>
                <a:cubicBezTo>
                  <a:pt x="2566828" y="2213758"/>
                  <a:pt x="2268976" y="2435732"/>
                  <a:pt x="2123087" y="2544145"/>
                </a:cubicBezTo>
                <a:cubicBezTo>
                  <a:pt x="2074183" y="2580591"/>
                  <a:pt x="2041854" y="2604683"/>
                  <a:pt x="2031662" y="2615287"/>
                </a:cubicBezTo>
                <a:cubicBezTo>
                  <a:pt x="2029471" y="2617556"/>
                  <a:pt x="2028789" y="2620886"/>
                  <a:pt x="2029911" y="2623833"/>
                </a:cubicBezTo>
                <a:cubicBezTo>
                  <a:pt x="2031050" y="2626805"/>
                  <a:pt x="2033836" y="2628824"/>
                  <a:pt x="2037015" y="2628981"/>
                </a:cubicBezTo>
                <a:lnTo>
                  <a:pt x="2038148" y="2628981"/>
                </a:lnTo>
                <a:cubicBezTo>
                  <a:pt x="2039077" y="2630122"/>
                  <a:pt x="2040281" y="2631009"/>
                  <a:pt x="2041649" y="2631555"/>
                </a:cubicBezTo>
                <a:cubicBezTo>
                  <a:pt x="2043687" y="2632425"/>
                  <a:pt x="2045992" y="2632425"/>
                  <a:pt x="2048031" y="2631555"/>
                </a:cubicBezTo>
                <a:cubicBezTo>
                  <a:pt x="2198657" y="2562573"/>
                  <a:pt x="2293376" y="2479180"/>
                  <a:pt x="2362460" y="2418332"/>
                </a:cubicBezTo>
                <a:cubicBezTo>
                  <a:pt x="2387169" y="2396609"/>
                  <a:pt x="2408069" y="2378180"/>
                  <a:pt x="2426705" y="2364692"/>
                </a:cubicBezTo>
                <a:cubicBezTo>
                  <a:pt x="2392625" y="2459412"/>
                  <a:pt x="2307687" y="2628157"/>
                  <a:pt x="2277418" y="2678914"/>
                </a:cubicBezTo>
                <a:cubicBezTo>
                  <a:pt x="2275274" y="2682862"/>
                  <a:pt x="2276737" y="2687801"/>
                  <a:pt x="2280684" y="2689944"/>
                </a:cubicBezTo>
                <a:cubicBezTo>
                  <a:pt x="2283528" y="2691488"/>
                  <a:pt x="2287015" y="2691199"/>
                  <a:pt x="2289567" y="2689211"/>
                </a:cubicBezTo>
                <a:cubicBezTo>
                  <a:pt x="2295436" y="2684268"/>
                  <a:pt x="2301407" y="2679429"/>
                  <a:pt x="2307173" y="2674487"/>
                </a:cubicBezTo>
                <a:cubicBezTo>
                  <a:pt x="2246634" y="2738115"/>
                  <a:pt x="2191449" y="2800815"/>
                  <a:pt x="2149238" y="2867325"/>
                </a:cubicBezTo>
                <a:cubicBezTo>
                  <a:pt x="2147150" y="2870631"/>
                  <a:pt x="2147713" y="2874956"/>
                  <a:pt x="2150575" y="2877621"/>
                </a:cubicBezTo>
                <a:cubicBezTo>
                  <a:pt x="2156584" y="2883742"/>
                  <a:pt x="2164982" y="2886905"/>
                  <a:pt x="2173535" y="2886269"/>
                </a:cubicBezTo>
                <a:cubicBezTo>
                  <a:pt x="2196906" y="2884313"/>
                  <a:pt x="2219660" y="2854661"/>
                  <a:pt x="2245605" y="2820273"/>
                </a:cubicBezTo>
                <a:cubicBezTo>
                  <a:pt x="2238740" y="2841895"/>
                  <a:pt x="2231637" y="2864338"/>
                  <a:pt x="2224293" y="2887607"/>
                </a:cubicBezTo>
                <a:cubicBezTo>
                  <a:pt x="2180124" y="3025671"/>
                  <a:pt x="2130088" y="3182164"/>
                  <a:pt x="2117425" y="3348748"/>
                </a:cubicBezTo>
                <a:cubicBezTo>
                  <a:pt x="2117127" y="3352845"/>
                  <a:pt x="2119894" y="3356534"/>
                  <a:pt x="2123910" y="3357396"/>
                </a:cubicBezTo>
                <a:lnTo>
                  <a:pt x="2126897" y="3357396"/>
                </a:lnTo>
                <a:cubicBezTo>
                  <a:pt x="2130398" y="3357399"/>
                  <a:pt x="2133509" y="3355159"/>
                  <a:pt x="2134618" y="3351836"/>
                </a:cubicBezTo>
                <a:cubicBezTo>
                  <a:pt x="2155209" y="3289342"/>
                  <a:pt x="2174770" y="3224170"/>
                  <a:pt x="2193405" y="3161161"/>
                </a:cubicBezTo>
                <a:cubicBezTo>
                  <a:pt x="2268255" y="2908198"/>
                  <a:pt x="2345575" y="2646380"/>
                  <a:pt x="2554885" y="2464972"/>
                </a:cubicBezTo>
                <a:cubicBezTo>
                  <a:pt x="2602554" y="2428525"/>
                  <a:pt x="2650531" y="2337923"/>
                  <a:pt x="2688728" y="2265236"/>
                </a:cubicBezTo>
                <a:lnTo>
                  <a:pt x="2691507" y="2259883"/>
                </a:lnTo>
                <a:cubicBezTo>
                  <a:pt x="2651972" y="2383018"/>
                  <a:pt x="2605642" y="2509243"/>
                  <a:pt x="2591228" y="2523245"/>
                </a:cubicBezTo>
                <a:cubicBezTo>
                  <a:pt x="2586814" y="2523679"/>
                  <a:pt x="2583588" y="2527609"/>
                  <a:pt x="2584022" y="2532023"/>
                </a:cubicBezTo>
                <a:cubicBezTo>
                  <a:pt x="2584298" y="2534820"/>
                  <a:pt x="2586016" y="2537271"/>
                  <a:pt x="2588551" y="2538483"/>
                </a:cubicBezTo>
                <a:cubicBezTo>
                  <a:pt x="2592518" y="2540402"/>
                  <a:pt x="2597146" y="2540402"/>
                  <a:pt x="2601112" y="2538482"/>
                </a:cubicBezTo>
                <a:cubicBezTo>
                  <a:pt x="2605496" y="2536358"/>
                  <a:pt x="2609388" y="2533343"/>
                  <a:pt x="2612540" y="2529629"/>
                </a:cubicBezTo>
                <a:cubicBezTo>
                  <a:pt x="2559415" y="2623833"/>
                  <a:pt x="2494861" y="2723289"/>
                  <a:pt x="2437000" y="2812346"/>
                </a:cubicBezTo>
                <a:cubicBezTo>
                  <a:pt x="2359268" y="2932084"/>
                  <a:pt x="2292140" y="3035349"/>
                  <a:pt x="2267226" y="3100109"/>
                </a:cubicBezTo>
                <a:cubicBezTo>
                  <a:pt x="2265595" y="3104295"/>
                  <a:pt x="2267669" y="3109009"/>
                  <a:pt x="2271855" y="3110639"/>
                </a:cubicBezTo>
                <a:cubicBezTo>
                  <a:pt x="2275390" y="3112015"/>
                  <a:pt x="2279407" y="3110764"/>
                  <a:pt x="2281537" y="3107624"/>
                </a:cubicBezTo>
                <a:cubicBezTo>
                  <a:pt x="2298832" y="3082812"/>
                  <a:pt x="2318910" y="3054705"/>
                  <a:pt x="2340839" y="3024023"/>
                </a:cubicBezTo>
                <a:cubicBezTo>
                  <a:pt x="2503098" y="2797006"/>
                  <a:pt x="2774490" y="2417200"/>
                  <a:pt x="2756781" y="2176591"/>
                </a:cubicBezTo>
                <a:cubicBezTo>
                  <a:pt x="2756820" y="2175906"/>
                  <a:pt x="2756820" y="2175218"/>
                  <a:pt x="2756782" y="2174532"/>
                </a:cubicBezTo>
                <a:cubicBezTo>
                  <a:pt x="2749780" y="2153941"/>
                  <a:pt x="2750501" y="2140453"/>
                  <a:pt x="2759047" y="2132217"/>
                </a:cubicBezTo>
                <a:cubicBezTo>
                  <a:pt x="2804038" y="2088153"/>
                  <a:pt x="3264870" y="2212935"/>
                  <a:pt x="3492712" y="2296948"/>
                </a:cubicBezTo>
                <a:cubicBezTo>
                  <a:pt x="3758648" y="2395065"/>
                  <a:pt x="3795403" y="2399904"/>
                  <a:pt x="3844205" y="2387754"/>
                </a:cubicBezTo>
                <a:cubicBezTo>
                  <a:pt x="3867781" y="2382092"/>
                  <a:pt x="3861398" y="2341424"/>
                  <a:pt x="3845336" y="2302713"/>
                </a:cubicBezTo>
                <a:cubicBezTo>
                  <a:pt x="3844719" y="2300705"/>
                  <a:pt x="3843194" y="2299104"/>
                  <a:pt x="3841218" y="2298388"/>
                </a:cubicBezTo>
                <a:cubicBezTo>
                  <a:pt x="3643646" y="2260810"/>
                  <a:pt x="3614716" y="2253500"/>
                  <a:pt x="3492299" y="2224878"/>
                </a:cubicBezTo>
                <a:cubicBezTo>
                  <a:pt x="3409421" y="2205522"/>
                  <a:pt x="3232748" y="2114921"/>
                  <a:pt x="3181784" y="2090520"/>
                </a:cubicBezTo>
                <a:cubicBezTo>
                  <a:pt x="3176740" y="2081666"/>
                  <a:pt x="3201244" y="2026791"/>
                  <a:pt x="3227086" y="1968620"/>
                </a:cubicBezTo>
                <a:cubicBezTo>
                  <a:pt x="3319128" y="1762193"/>
                  <a:pt x="3510524" y="1332659"/>
                  <a:pt x="3542337" y="671372"/>
                </a:cubicBezTo>
                <a:cubicBezTo>
                  <a:pt x="3542549" y="666885"/>
                  <a:pt x="3539083" y="663076"/>
                  <a:pt x="3534596" y="662864"/>
                </a:cubicBezTo>
                <a:cubicBezTo>
                  <a:pt x="3530649" y="662678"/>
                  <a:pt x="3527140" y="665355"/>
                  <a:pt x="3526276" y="669210"/>
                </a:cubicBezTo>
                <a:cubicBezTo>
                  <a:pt x="3505685" y="763930"/>
                  <a:pt x="3487462" y="854531"/>
                  <a:pt x="3469857" y="943073"/>
                </a:cubicBezTo>
                <a:cubicBezTo>
                  <a:pt x="3401801" y="1284476"/>
                  <a:pt x="3342911" y="1579342"/>
                  <a:pt x="3175710" y="1935469"/>
                </a:cubicBezTo>
                <a:cubicBezTo>
                  <a:pt x="3142867" y="1991065"/>
                  <a:pt x="3127733" y="2060560"/>
                  <a:pt x="3122379" y="2086196"/>
                </a:cubicBezTo>
                <a:cubicBezTo>
                  <a:pt x="3109818" y="2088872"/>
                  <a:pt x="3053707" y="2067561"/>
                  <a:pt x="3012422" y="2051911"/>
                </a:cubicBezTo>
                <a:cubicBezTo>
                  <a:pt x="2988743" y="2042954"/>
                  <a:pt x="2964547" y="2033792"/>
                  <a:pt x="2941692" y="2025966"/>
                </a:cubicBezTo>
                <a:cubicBezTo>
                  <a:pt x="3032396" y="1960898"/>
                  <a:pt x="3074917" y="1888828"/>
                  <a:pt x="3107348" y="1826849"/>
                </a:cubicBezTo>
                <a:cubicBezTo>
                  <a:pt x="3201244" y="1692389"/>
                  <a:pt x="3401082" y="1120570"/>
                  <a:pt x="3372357" y="1030483"/>
                </a:cubicBezTo>
                <a:cubicBezTo>
                  <a:pt x="3371201" y="1026955"/>
                  <a:pt x="3367828" y="1024636"/>
                  <a:pt x="3364120" y="1024820"/>
                </a:cubicBezTo>
                <a:cubicBezTo>
                  <a:pt x="3360433" y="1025025"/>
                  <a:pt x="3357347" y="1027689"/>
                  <a:pt x="3356604" y="1031307"/>
                </a:cubicBezTo>
                <a:cubicBezTo>
                  <a:pt x="3310789" y="1256781"/>
                  <a:pt x="3148530" y="1641426"/>
                  <a:pt x="3024365" y="1868958"/>
                </a:cubicBezTo>
                <a:cubicBezTo>
                  <a:pt x="2975667" y="1924863"/>
                  <a:pt x="2920275" y="1983446"/>
                  <a:pt x="2896390" y="2002184"/>
                </a:cubicBezTo>
                <a:lnTo>
                  <a:pt x="2896906" y="2001257"/>
                </a:lnTo>
                <a:cubicBezTo>
                  <a:pt x="3045265" y="1805641"/>
                  <a:pt x="3415907" y="861018"/>
                  <a:pt x="3435366" y="796669"/>
                </a:cubicBezTo>
                <a:cubicBezTo>
                  <a:pt x="3441029" y="777726"/>
                  <a:pt x="3444735" y="759194"/>
                  <a:pt x="3448235" y="741382"/>
                </a:cubicBezTo>
                <a:cubicBezTo>
                  <a:pt x="3453280" y="715129"/>
                  <a:pt x="3457810" y="692478"/>
                  <a:pt x="3467283" y="677549"/>
                </a:cubicBezTo>
                <a:cubicBezTo>
                  <a:pt x="3469796" y="673900"/>
                  <a:pt x="3468925" y="668911"/>
                  <a:pt x="3465326" y="666327"/>
                </a:cubicBezTo>
                <a:lnTo>
                  <a:pt x="3456575" y="659841"/>
                </a:lnTo>
                <a:cubicBezTo>
                  <a:pt x="3453114" y="657287"/>
                  <a:pt x="3448270" y="657825"/>
                  <a:pt x="3445456" y="661076"/>
                </a:cubicBezTo>
                <a:cubicBezTo>
                  <a:pt x="3410965" y="701538"/>
                  <a:pt x="3389138" y="762180"/>
                  <a:pt x="3368033" y="820968"/>
                </a:cubicBezTo>
                <a:lnTo>
                  <a:pt x="3363399" y="834043"/>
                </a:lnTo>
                <a:cubicBezTo>
                  <a:pt x="3273003" y="1092051"/>
                  <a:pt x="3044956" y="1711127"/>
                  <a:pt x="2859841" y="1951014"/>
                </a:cubicBezTo>
                <a:cubicBezTo>
                  <a:pt x="2858913" y="1948544"/>
                  <a:pt x="2857987" y="1946072"/>
                  <a:pt x="2857164" y="1943498"/>
                </a:cubicBezTo>
                <a:cubicBezTo>
                  <a:pt x="2859199" y="1943199"/>
                  <a:pt x="2861041" y="1942131"/>
                  <a:pt x="2862312" y="1940513"/>
                </a:cubicBezTo>
                <a:cubicBezTo>
                  <a:pt x="2920173" y="1865972"/>
                  <a:pt x="2945604" y="1778769"/>
                  <a:pt x="2970210" y="1694344"/>
                </a:cubicBezTo>
                <a:cubicBezTo>
                  <a:pt x="2998420" y="1597463"/>
                  <a:pt x="3025086" y="1505935"/>
                  <a:pt x="3097257" y="1436233"/>
                </a:cubicBezTo>
                <a:cubicBezTo>
                  <a:pt x="3099414" y="1434123"/>
                  <a:pt x="3100243" y="1431002"/>
                  <a:pt x="3099419" y="1428100"/>
                </a:cubicBezTo>
                <a:cubicBezTo>
                  <a:pt x="3098587" y="1425202"/>
                  <a:pt x="3096202" y="1423015"/>
                  <a:pt x="3093242" y="1422437"/>
                </a:cubicBezTo>
                <a:cubicBezTo>
                  <a:pt x="3083166" y="1419779"/>
                  <a:pt x="3072435" y="1421499"/>
                  <a:pt x="3063694" y="1427174"/>
                </a:cubicBezTo>
                <a:cubicBezTo>
                  <a:pt x="3055550" y="1433484"/>
                  <a:pt x="3049868" y="1442444"/>
                  <a:pt x="3047633" y="1452501"/>
                </a:cubicBezTo>
                <a:cubicBezTo>
                  <a:pt x="3045374" y="1452861"/>
                  <a:pt x="3043265" y="1453860"/>
                  <a:pt x="3041558" y="1455384"/>
                </a:cubicBezTo>
                <a:cubicBezTo>
                  <a:pt x="3041559" y="1454353"/>
                  <a:pt x="3041558" y="1453222"/>
                  <a:pt x="3041558" y="1452191"/>
                </a:cubicBezTo>
                <a:cubicBezTo>
                  <a:pt x="3040331" y="1444132"/>
                  <a:pt x="3035724" y="1436980"/>
                  <a:pt x="3028895" y="1432527"/>
                </a:cubicBezTo>
                <a:cubicBezTo>
                  <a:pt x="3025160" y="1430033"/>
                  <a:pt x="3020108" y="1431039"/>
                  <a:pt x="3017615" y="1434775"/>
                </a:cubicBezTo>
                <a:cubicBezTo>
                  <a:pt x="3016170" y="1436938"/>
                  <a:pt x="3015847" y="1439662"/>
                  <a:pt x="3016746" y="1442102"/>
                </a:cubicBezTo>
                <a:cubicBezTo>
                  <a:pt x="3021791" y="1456001"/>
                  <a:pt x="3013657" y="1466503"/>
                  <a:pt x="3000170" y="1482461"/>
                </a:cubicBezTo>
                <a:cubicBezTo>
                  <a:pt x="2996875" y="1486373"/>
                  <a:pt x="2993477" y="1490286"/>
                  <a:pt x="2990390" y="1494404"/>
                </a:cubicBezTo>
                <a:lnTo>
                  <a:pt x="3003259" y="1454045"/>
                </a:lnTo>
                <a:cubicBezTo>
                  <a:pt x="3020349" y="1400611"/>
                  <a:pt x="3041352" y="1334512"/>
                  <a:pt x="3046912" y="1323188"/>
                </a:cubicBezTo>
                <a:cubicBezTo>
                  <a:pt x="3048742" y="1321659"/>
                  <a:pt x="3049799" y="1319396"/>
                  <a:pt x="3049795" y="1317010"/>
                </a:cubicBezTo>
                <a:cubicBezTo>
                  <a:pt x="3051545" y="1309288"/>
                  <a:pt x="3072034" y="1267386"/>
                  <a:pt x="3093654" y="1223114"/>
                </a:cubicBezTo>
                <a:cubicBezTo>
                  <a:pt x="3137926" y="1132615"/>
                  <a:pt x="3204847" y="995890"/>
                  <a:pt x="3228732" y="917231"/>
                </a:cubicBezTo>
                <a:cubicBezTo>
                  <a:pt x="3229038" y="916050"/>
                  <a:pt x="3229038" y="914810"/>
                  <a:pt x="3228732" y="913628"/>
                </a:cubicBezTo>
                <a:cubicBezTo>
                  <a:pt x="3226982" y="902817"/>
                  <a:pt x="3221629" y="899832"/>
                  <a:pt x="3217511" y="899317"/>
                </a:cubicBezTo>
                <a:cubicBezTo>
                  <a:pt x="3201346" y="897258"/>
                  <a:pt x="3184771" y="928557"/>
                  <a:pt x="3127630" y="1053752"/>
                </a:cubicBezTo>
                <a:cubicBezTo>
                  <a:pt x="3098184" y="1118408"/>
                  <a:pt x="3067709" y="1185432"/>
                  <a:pt x="3045780" y="1218481"/>
                </a:cubicBezTo>
                <a:cubicBezTo>
                  <a:pt x="3045257" y="1219268"/>
                  <a:pt x="3044875" y="1220139"/>
                  <a:pt x="3044648" y="1221055"/>
                </a:cubicBezTo>
                <a:cubicBezTo>
                  <a:pt x="3020768" y="1270099"/>
                  <a:pt x="2993416" y="1317373"/>
                  <a:pt x="2962797" y="1362518"/>
                </a:cubicBezTo>
                <a:cubicBezTo>
                  <a:pt x="3060708" y="1172048"/>
                  <a:pt x="3125674" y="890155"/>
                  <a:pt x="3138647" y="592920"/>
                </a:cubicBezTo>
                <a:cubicBezTo>
                  <a:pt x="3138767" y="588817"/>
                  <a:pt x="3135885" y="585236"/>
                  <a:pt x="3131851" y="584477"/>
                </a:cubicBezTo>
                <a:cubicBezTo>
                  <a:pt x="3127804" y="583782"/>
                  <a:pt x="3123876" y="586210"/>
                  <a:pt x="3122688" y="590139"/>
                </a:cubicBezTo>
                <a:cubicBezTo>
                  <a:pt x="3095199" y="680843"/>
                  <a:pt x="3080168" y="781638"/>
                  <a:pt x="3064312" y="888713"/>
                </a:cubicBezTo>
                <a:cubicBezTo>
                  <a:pt x="3035793" y="1080005"/>
                  <a:pt x="3006348" y="1277373"/>
                  <a:pt x="2900096" y="1408642"/>
                </a:cubicBezTo>
                <a:cubicBezTo>
                  <a:pt x="2961151" y="1147339"/>
                  <a:pt x="2980917" y="888095"/>
                  <a:pt x="3000170" y="578814"/>
                </a:cubicBezTo>
                <a:cubicBezTo>
                  <a:pt x="3000271" y="577891"/>
                  <a:pt x="3000271" y="576958"/>
                  <a:pt x="3000170" y="576035"/>
                </a:cubicBezTo>
                <a:cubicBezTo>
                  <a:pt x="2999140" y="572637"/>
                  <a:pt x="2995846" y="562238"/>
                  <a:pt x="2987198" y="563062"/>
                </a:cubicBezTo>
                <a:cubicBezTo>
                  <a:pt x="2973299" y="564401"/>
                  <a:pt x="2969180" y="582932"/>
                  <a:pt x="2948794" y="812010"/>
                </a:cubicBezTo>
                <a:cubicBezTo>
                  <a:pt x="2934587" y="972622"/>
                  <a:pt x="2907612" y="1271607"/>
                  <a:pt x="2877961" y="1278092"/>
                </a:cubicBezTo>
                <a:cubicBezTo>
                  <a:pt x="2876005" y="1278092"/>
                  <a:pt x="2858194" y="1270474"/>
                  <a:pt x="2831528" y="1118923"/>
                </a:cubicBezTo>
                <a:cubicBezTo>
                  <a:pt x="2831139" y="1116571"/>
                  <a:pt x="2829699" y="1114523"/>
                  <a:pt x="2827615" y="1113364"/>
                </a:cubicBezTo>
                <a:cubicBezTo>
                  <a:pt x="2815467" y="1106259"/>
                  <a:pt x="2818555" y="1073827"/>
                  <a:pt x="2821438" y="1042528"/>
                </a:cubicBezTo>
                <a:cubicBezTo>
                  <a:pt x="2825968" y="993419"/>
                  <a:pt x="2831116" y="937926"/>
                  <a:pt x="2789934" y="918981"/>
                </a:cubicBezTo>
                <a:cubicBezTo>
                  <a:pt x="2787662" y="917859"/>
                  <a:pt x="2784998" y="917859"/>
                  <a:pt x="2782726" y="918981"/>
                </a:cubicBezTo>
                <a:cubicBezTo>
                  <a:pt x="2773255" y="924232"/>
                  <a:pt x="2768828" y="924232"/>
                  <a:pt x="2767798" y="923511"/>
                </a:cubicBezTo>
                <a:cubicBezTo>
                  <a:pt x="2762650" y="920011"/>
                  <a:pt x="2765637" y="894581"/>
                  <a:pt x="2767798" y="879343"/>
                </a:cubicBezTo>
                <a:cubicBezTo>
                  <a:pt x="2771082" y="862157"/>
                  <a:pt x="2771360" y="844530"/>
                  <a:pt x="2768622" y="827248"/>
                </a:cubicBezTo>
                <a:cubicBezTo>
                  <a:pt x="2767634" y="823469"/>
                  <a:pt x="2764071" y="820948"/>
                  <a:pt x="2760179" y="821276"/>
                </a:cubicBezTo>
                <a:cubicBezTo>
                  <a:pt x="2737426" y="822821"/>
                  <a:pt x="2735366" y="814275"/>
                  <a:pt x="2732381" y="789256"/>
                </a:cubicBezTo>
                <a:cubicBezTo>
                  <a:pt x="2732056" y="786349"/>
                  <a:pt x="2730158" y="783855"/>
                  <a:pt x="2727439" y="782771"/>
                </a:cubicBezTo>
                <a:cubicBezTo>
                  <a:pt x="2724786" y="781545"/>
                  <a:pt x="2721666" y="781945"/>
                  <a:pt x="2719409" y="783800"/>
                </a:cubicBezTo>
                <a:cubicBezTo>
                  <a:pt x="2650531" y="836925"/>
                  <a:pt x="2640132" y="902612"/>
                  <a:pt x="2690170" y="968606"/>
                </a:cubicBezTo>
                <a:cubicBezTo>
                  <a:pt x="2691274" y="970110"/>
                  <a:pt x="2692881" y="971170"/>
                  <a:pt x="2694700" y="971592"/>
                </a:cubicBezTo>
                <a:cubicBezTo>
                  <a:pt x="2698042" y="972563"/>
                  <a:pt x="2701561" y="972773"/>
                  <a:pt x="2704995" y="972210"/>
                </a:cubicBezTo>
                <a:cubicBezTo>
                  <a:pt x="2701180" y="1010683"/>
                  <a:pt x="2691854" y="1048408"/>
                  <a:pt x="2677299" y="1084226"/>
                </a:cubicBezTo>
                <a:cubicBezTo>
                  <a:pt x="2651355" y="1054059"/>
                  <a:pt x="2654753" y="1014216"/>
                  <a:pt x="2658252" y="972107"/>
                </a:cubicBezTo>
                <a:cubicBezTo>
                  <a:pt x="2660930" y="941220"/>
                  <a:pt x="2663607" y="909303"/>
                  <a:pt x="2652899" y="882328"/>
                </a:cubicBezTo>
                <a:cubicBezTo>
                  <a:pt x="2654668" y="880889"/>
                  <a:pt x="2656166" y="879146"/>
                  <a:pt x="2657326" y="877181"/>
                </a:cubicBezTo>
                <a:cubicBezTo>
                  <a:pt x="2662577" y="867607"/>
                  <a:pt x="2658871" y="855767"/>
                  <a:pt x="2654855" y="843205"/>
                </a:cubicBezTo>
                <a:cubicBezTo>
                  <a:pt x="2653302" y="838741"/>
                  <a:pt x="2652097" y="834164"/>
                  <a:pt x="2651251" y="829513"/>
                </a:cubicBezTo>
                <a:lnTo>
                  <a:pt x="2651252" y="824261"/>
                </a:lnTo>
                <a:cubicBezTo>
                  <a:pt x="2651374" y="819922"/>
                  <a:pt x="2648065" y="816251"/>
                  <a:pt x="2643736" y="815922"/>
                </a:cubicBezTo>
                <a:lnTo>
                  <a:pt x="2638588" y="815923"/>
                </a:lnTo>
                <a:cubicBezTo>
                  <a:pt x="2616967" y="814275"/>
                  <a:pt x="2611099" y="827762"/>
                  <a:pt x="2609864" y="831983"/>
                </a:cubicBezTo>
                <a:cubicBezTo>
                  <a:pt x="2605230" y="846912"/>
                  <a:pt x="2616246" y="865960"/>
                  <a:pt x="2625616" y="876358"/>
                </a:cubicBezTo>
                <a:cubicBezTo>
                  <a:pt x="2625616" y="890155"/>
                  <a:pt x="2625616" y="902715"/>
                  <a:pt x="2625616" y="914863"/>
                </a:cubicBezTo>
                <a:cubicBezTo>
                  <a:pt x="2626848" y="932018"/>
                  <a:pt x="2626503" y="949250"/>
                  <a:pt x="2624586" y="966341"/>
                </a:cubicBezTo>
                <a:cubicBezTo>
                  <a:pt x="2615418" y="985628"/>
                  <a:pt x="2610804" y="1006763"/>
                  <a:pt x="2611099" y="1028115"/>
                </a:cubicBezTo>
                <a:cubicBezTo>
                  <a:pt x="2609967" y="1053545"/>
                  <a:pt x="2609452" y="1066414"/>
                  <a:pt x="2581962" y="1072901"/>
                </a:cubicBezTo>
                <a:cubicBezTo>
                  <a:pt x="2579733" y="1073459"/>
                  <a:pt x="2577834" y="1074911"/>
                  <a:pt x="2576712" y="1076917"/>
                </a:cubicBezTo>
                <a:cubicBezTo>
                  <a:pt x="2552517" y="1120982"/>
                  <a:pt x="2553341" y="1163297"/>
                  <a:pt x="2554164" y="1204068"/>
                </a:cubicBezTo>
                <a:cubicBezTo>
                  <a:pt x="2554987" y="1242984"/>
                  <a:pt x="2555709" y="1279843"/>
                  <a:pt x="2534705" y="1315981"/>
                </a:cubicBezTo>
                <a:cubicBezTo>
                  <a:pt x="2459753" y="1149397"/>
                  <a:pt x="2395920" y="752708"/>
                  <a:pt x="2370696" y="520747"/>
                </a:cubicBezTo>
                <a:cubicBezTo>
                  <a:pt x="2370290" y="517100"/>
                  <a:pt x="2367518" y="514160"/>
                  <a:pt x="2363900" y="513540"/>
                </a:cubicBezTo>
                <a:cubicBezTo>
                  <a:pt x="2359031" y="512694"/>
                  <a:pt x="2354058" y="514313"/>
                  <a:pt x="2350619" y="517864"/>
                </a:cubicBezTo>
                <a:cubicBezTo>
                  <a:pt x="2330029" y="538455"/>
                  <a:pt x="2345575" y="639354"/>
                  <a:pt x="2382330" y="849177"/>
                </a:cubicBezTo>
                <a:cubicBezTo>
                  <a:pt x="2402921" y="966753"/>
                  <a:pt x="2424131" y="1088036"/>
                  <a:pt x="2423512" y="1145382"/>
                </a:cubicBezTo>
                <a:cubicBezTo>
                  <a:pt x="2387890" y="1126541"/>
                  <a:pt x="2381404" y="1096169"/>
                  <a:pt x="2375535" y="1069092"/>
                </a:cubicBezTo>
                <a:cubicBezTo>
                  <a:pt x="2371726" y="1051383"/>
                  <a:pt x="2368123" y="1034601"/>
                  <a:pt x="2355973" y="1025232"/>
                </a:cubicBezTo>
                <a:lnTo>
                  <a:pt x="2319116" y="965106"/>
                </a:lnTo>
                <a:cubicBezTo>
                  <a:pt x="2284007" y="876563"/>
                  <a:pt x="2273917" y="806862"/>
                  <a:pt x="2263210" y="733043"/>
                </a:cubicBezTo>
                <a:cubicBezTo>
                  <a:pt x="2257444" y="693199"/>
                  <a:pt x="2251472" y="651913"/>
                  <a:pt x="2241280" y="605789"/>
                </a:cubicBezTo>
                <a:cubicBezTo>
                  <a:pt x="2240732" y="603089"/>
                  <a:pt x="2238822" y="600868"/>
                  <a:pt x="2236235" y="599921"/>
                </a:cubicBezTo>
                <a:cubicBezTo>
                  <a:pt x="2233656" y="598909"/>
                  <a:pt x="2230738" y="599298"/>
                  <a:pt x="2228514" y="600950"/>
                </a:cubicBezTo>
                <a:cubicBezTo>
                  <a:pt x="2199994" y="622262"/>
                  <a:pt x="2216777" y="692787"/>
                  <a:pt x="2234485" y="767430"/>
                </a:cubicBezTo>
                <a:cubicBezTo>
                  <a:pt x="2239530" y="788844"/>
                  <a:pt x="2244781" y="809642"/>
                  <a:pt x="2247766" y="827351"/>
                </a:cubicBezTo>
                <a:cubicBezTo>
                  <a:pt x="2234794" y="801406"/>
                  <a:pt x="2221822" y="768562"/>
                  <a:pt x="2208335" y="734690"/>
                </a:cubicBezTo>
                <a:cubicBezTo>
                  <a:pt x="2182595" y="669519"/>
                  <a:pt x="2155929" y="602083"/>
                  <a:pt x="2124631" y="571710"/>
                </a:cubicBezTo>
                <a:cubicBezTo>
                  <a:pt x="2121914" y="568914"/>
                  <a:pt x="2117595" y="568439"/>
                  <a:pt x="2114335" y="570577"/>
                </a:cubicBezTo>
                <a:cubicBezTo>
                  <a:pt x="2111181" y="572595"/>
                  <a:pt x="2109786" y="576488"/>
                  <a:pt x="2110938" y="580049"/>
                </a:cubicBezTo>
                <a:cubicBezTo>
                  <a:pt x="2196185" y="838161"/>
                  <a:pt x="2318807" y="1087829"/>
                  <a:pt x="2437412" y="1329365"/>
                </a:cubicBezTo>
                <a:cubicBezTo>
                  <a:pt x="2472623" y="1401434"/>
                  <a:pt x="2508863" y="1474842"/>
                  <a:pt x="2543046" y="1546911"/>
                </a:cubicBezTo>
                <a:cubicBezTo>
                  <a:pt x="2487964" y="1496566"/>
                  <a:pt x="2421660" y="1382181"/>
                  <a:pt x="2371417" y="1295698"/>
                </a:cubicBezTo>
                <a:cubicBezTo>
                  <a:pt x="2311187" y="1191816"/>
                  <a:pt x="2295538" y="1167930"/>
                  <a:pt x="2280198" y="1172151"/>
                </a:cubicBezTo>
                <a:cubicBezTo>
                  <a:pt x="2270520" y="1174519"/>
                  <a:pt x="2269902" y="1186667"/>
                  <a:pt x="2269903" y="1190683"/>
                </a:cubicBezTo>
                <a:cubicBezTo>
                  <a:pt x="2269915" y="1191843"/>
                  <a:pt x="2270125" y="1192990"/>
                  <a:pt x="2270520" y="1194080"/>
                </a:cubicBezTo>
                <a:cubicBezTo>
                  <a:pt x="2294920" y="1249636"/>
                  <a:pt x="2322879" y="1303561"/>
                  <a:pt x="2354223" y="1355515"/>
                </a:cubicBezTo>
                <a:cubicBezTo>
                  <a:pt x="2369254" y="1381872"/>
                  <a:pt x="2383565" y="1406994"/>
                  <a:pt x="2396641" y="1431498"/>
                </a:cubicBezTo>
                <a:cubicBezTo>
                  <a:pt x="2330235" y="1390315"/>
                  <a:pt x="2276594" y="1308671"/>
                  <a:pt x="2224498" y="1229806"/>
                </a:cubicBezTo>
                <a:cubicBezTo>
                  <a:pt x="2201082" y="1192781"/>
                  <a:pt x="2175790" y="1156974"/>
                  <a:pt x="2148723" y="1122527"/>
                </a:cubicBezTo>
                <a:cubicBezTo>
                  <a:pt x="2147149" y="1120453"/>
                  <a:pt x="2144625" y="1119327"/>
                  <a:pt x="2142031" y="1119541"/>
                </a:cubicBezTo>
                <a:cubicBezTo>
                  <a:pt x="2139493" y="1119620"/>
                  <a:pt x="2137152" y="1120924"/>
                  <a:pt x="2135751" y="1123041"/>
                </a:cubicBezTo>
                <a:cubicBezTo>
                  <a:pt x="2124014" y="1140028"/>
                  <a:pt x="2185273" y="1245971"/>
                  <a:pt x="2214512" y="1294153"/>
                </a:cubicBezTo>
                <a:cubicBezTo>
                  <a:pt x="2193096" y="1277475"/>
                  <a:pt x="2154694" y="1239175"/>
                  <a:pt x="2093436" y="1162164"/>
                </a:cubicBezTo>
                <a:cubicBezTo>
                  <a:pt x="2028264" y="1079799"/>
                  <a:pt x="1975757" y="1002067"/>
                  <a:pt x="1972256" y="987139"/>
                </a:cubicBezTo>
                <a:cubicBezTo>
                  <a:pt x="1971533" y="983788"/>
                  <a:pt x="1968762" y="981265"/>
                  <a:pt x="1965359" y="980859"/>
                </a:cubicBezTo>
                <a:cubicBezTo>
                  <a:pt x="1962006" y="980444"/>
                  <a:pt x="1958742" y="982117"/>
                  <a:pt x="1957122" y="985080"/>
                </a:cubicBezTo>
                <a:cubicBezTo>
                  <a:pt x="1925204" y="1045103"/>
                  <a:pt x="2029191" y="1153207"/>
                  <a:pt x="2129985" y="1257707"/>
                </a:cubicBezTo>
                <a:cubicBezTo>
                  <a:pt x="2197524" y="1327820"/>
                  <a:pt x="2267328" y="1400302"/>
                  <a:pt x="2261254" y="1428100"/>
                </a:cubicBezTo>
                <a:cubicBezTo>
                  <a:pt x="2260562" y="1431504"/>
                  <a:pt x="2258200" y="1434331"/>
                  <a:pt x="2254974" y="1435616"/>
                </a:cubicBezTo>
                <a:cubicBezTo>
                  <a:pt x="2205966" y="1414098"/>
                  <a:pt x="2109188" y="1325247"/>
                  <a:pt x="2023528" y="1246588"/>
                </a:cubicBezTo>
                <a:cubicBezTo>
                  <a:pt x="1958665" y="1186977"/>
                  <a:pt x="1897303" y="1130660"/>
                  <a:pt x="1858799" y="1105126"/>
                </a:cubicBezTo>
                <a:cubicBezTo>
                  <a:pt x="1855646" y="1102892"/>
                  <a:pt x="1851365" y="1103149"/>
                  <a:pt x="1848502" y="1105744"/>
                </a:cubicBezTo>
                <a:cubicBezTo>
                  <a:pt x="1845674" y="1108113"/>
                  <a:pt x="1844825" y="1112106"/>
                  <a:pt x="1846444" y="1115421"/>
                </a:cubicBezTo>
                <a:cubicBezTo>
                  <a:pt x="1874448" y="1175033"/>
                  <a:pt x="1966387" y="1245867"/>
                  <a:pt x="2055239" y="1314334"/>
                </a:cubicBezTo>
                <a:cubicBezTo>
                  <a:pt x="2127308" y="1369621"/>
                  <a:pt x="2194641" y="1421716"/>
                  <a:pt x="2219350" y="1461046"/>
                </a:cubicBezTo>
                <a:cubicBezTo>
                  <a:pt x="2229646" y="1477828"/>
                  <a:pt x="2218526" y="1535175"/>
                  <a:pt x="2204216" y="1607861"/>
                </a:cubicBezTo>
                <a:cubicBezTo>
                  <a:pt x="2201848" y="1620011"/>
                  <a:pt x="2199275" y="1632777"/>
                  <a:pt x="2196700" y="1646161"/>
                </a:cubicBezTo>
                <a:cubicBezTo>
                  <a:pt x="2193817" y="1651514"/>
                  <a:pt x="2194023" y="1662737"/>
                  <a:pt x="2195671" y="1694653"/>
                </a:cubicBezTo>
                <a:cubicBezTo>
                  <a:pt x="2196906" y="1718951"/>
                  <a:pt x="2199377" y="1768370"/>
                  <a:pt x="2193405" y="1778769"/>
                </a:cubicBezTo>
                <a:cubicBezTo>
                  <a:pt x="2152223" y="1790094"/>
                  <a:pt x="2013130" y="1738204"/>
                  <a:pt x="1978330" y="1739440"/>
                </a:cubicBezTo>
                <a:cubicBezTo>
                  <a:pt x="1943325" y="1733880"/>
                  <a:pt x="1942501" y="1642866"/>
                  <a:pt x="1942398" y="1613112"/>
                </a:cubicBezTo>
                <a:cubicBezTo>
                  <a:pt x="1942431" y="1610169"/>
                  <a:pt x="1940851" y="1607443"/>
                  <a:pt x="1938281" y="1606008"/>
                </a:cubicBezTo>
                <a:cubicBezTo>
                  <a:pt x="1935776" y="1604511"/>
                  <a:pt x="1932651" y="1604512"/>
                  <a:pt x="1930147" y="1606008"/>
                </a:cubicBezTo>
                <a:cubicBezTo>
                  <a:pt x="1901628" y="1622790"/>
                  <a:pt x="1901525" y="1652132"/>
                  <a:pt x="1906982" y="1678078"/>
                </a:cubicBezTo>
                <a:cubicBezTo>
                  <a:pt x="1874144" y="1656012"/>
                  <a:pt x="1838872" y="1637806"/>
                  <a:pt x="1801864" y="1623820"/>
                </a:cubicBezTo>
                <a:lnTo>
                  <a:pt x="1792289" y="1629071"/>
                </a:lnTo>
                <a:cubicBezTo>
                  <a:pt x="1797436" y="1647603"/>
                  <a:pt x="1877742" y="1685285"/>
                  <a:pt x="1915836" y="1702375"/>
                </a:cubicBezTo>
                <a:cubicBezTo>
                  <a:pt x="1915164" y="1704168"/>
                  <a:pt x="1915164" y="1706143"/>
                  <a:pt x="1915836" y="1707935"/>
                </a:cubicBezTo>
                <a:lnTo>
                  <a:pt x="1841296" y="1679519"/>
                </a:lnTo>
                <a:cubicBezTo>
                  <a:pt x="1845825" y="1693521"/>
                  <a:pt x="1876712" y="1700831"/>
                  <a:pt x="1878669" y="1712259"/>
                </a:cubicBezTo>
                <a:cubicBezTo>
                  <a:pt x="1817410" y="1699493"/>
                  <a:pt x="1837487" y="1701963"/>
                  <a:pt x="1832647" y="1696403"/>
                </a:cubicBezTo>
                <a:cubicBezTo>
                  <a:pt x="1830176" y="1665517"/>
                  <a:pt x="1798466" y="1698978"/>
                  <a:pt x="1796716" y="1697845"/>
                </a:cubicBezTo>
                <a:cubicBezTo>
                  <a:pt x="1773858" y="1682504"/>
                  <a:pt x="1748841" y="1692904"/>
                  <a:pt x="1739267" y="1690741"/>
                </a:cubicBezTo>
                <a:cubicBezTo>
                  <a:pt x="1732368" y="1689093"/>
                  <a:pt x="1723102" y="1707626"/>
                  <a:pt x="1681919" y="1690740"/>
                </a:cubicBezTo>
                <a:cubicBezTo>
                  <a:pt x="1638575" y="1681887"/>
                  <a:pt x="1671623" y="1661296"/>
                  <a:pt x="1666786" y="1654604"/>
                </a:cubicBezTo>
                <a:lnTo>
                  <a:pt x="1665858" y="1653368"/>
                </a:lnTo>
                <a:cubicBezTo>
                  <a:pt x="1675238" y="1644133"/>
                  <a:pt x="1679638" y="1630971"/>
                  <a:pt x="1677698" y="1617952"/>
                </a:cubicBezTo>
                <a:cubicBezTo>
                  <a:pt x="1674404" y="1601272"/>
                  <a:pt x="1658446" y="1586446"/>
                  <a:pt x="1633942" y="1576769"/>
                </a:cubicBezTo>
                <a:cubicBezTo>
                  <a:pt x="1632575" y="1575637"/>
                  <a:pt x="1631270" y="1574434"/>
                  <a:pt x="1630029" y="1573165"/>
                </a:cubicBezTo>
                <a:cubicBezTo>
                  <a:pt x="1638974" y="1574993"/>
                  <a:pt x="1647495" y="1578485"/>
                  <a:pt x="1655151" y="1583461"/>
                </a:cubicBezTo>
                <a:cubicBezTo>
                  <a:pt x="1671496" y="1592815"/>
                  <a:pt x="1682820" y="1608970"/>
                  <a:pt x="1686037" y="1627526"/>
                </a:cubicBezTo>
                <a:cubicBezTo>
                  <a:pt x="1686259" y="1630101"/>
                  <a:pt x="1687771" y="1632388"/>
                  <a:pt x="1690053" y="1633601"/>
                </a:cubicBezTo>
                <a:cubicBezTo>
                  <a:pt x="1692344" y="1634791"/>
                  <a:pt x="1695072" y="1634791"/>
                  <a:pt x="1697363" y="1633601"/>
                </a:cubicBezTo>
                <a:cubicBezTo>
                  <a:pt x="1705115" y="1630948"/>
                  <a:pt x="1713646" y="1631892"/>
                  <a:pt x="1720631" y="1636174"/>
                </a:cubicBezTo>
                <a:cubicBezTo>
                  <a:pt x="1735654" y="1643972"/>
                  <a:pt x="1746820" y="1657594"/>
                  <a:pt x="1751518" y="1673856"/>
                </a:cubicBezTo>
                <a:cubicBezTo>
                  <a:pt x="1752302" y="1678001"/>
                  <a:pt x="1756193" y="1680806"/>
                  <a:pt x="1760372" y="1680239"/>
                </a:cubicBezTo>
                <a:cubicBezTo>
                  <a:pt x="1764483" y="1679816"/>
                  <a:pt x="1767600" y="1676341"/>
                  <a:pt x="1767579" y="1672209"/>
                </a:cubicBezTo>
                <a:cubicBezTo>
                  <a:pt x="1767579" y="1255030"/>
                  <a:pt x="1788170" y="616187"/>
                  <a:pt x="1828528" y="254193"/>
                </a:cubicBezTo>
                <a:cubicBezTo>
                  <a:pt x="1828878" y="252878"/>
                  <a:pt x="1828878" y="251494"/>
                  <a:pt x="1828529" y="250178"/>
                </a:cubicBezTo>
                <a:cubicBezTo>
                  <a:pt x="1826984" y="245880"/>
                  <a:pt x="1822792" y="243114"/>
                  <a:pt x="1818234" y="243383"/>
                </a:cubicBezTo>
                <a:cubicBezTo>
                  <a:pt x="1802481" y="245340"/>
                  <a:pt x="1790745" y="302583"/>
                  <a:pt x="1720116" y="823644"/>
                </a:cubicBezTo>
                <a:cubicBezTo>
                  <a:pt x="1699525" y="975917"/>
                  <a:pt x="1679655" y="1121496"/>
                  <a:pt x="1666682" y="1199434"/>
                </a:cubicBezTo>
                <a:cubicBezTo>
                  <a:pt x="1649077" y="1040985"/>
                  <a:pt x="1671006" y="847324"/>
                  <a:pt x="1692318" y="659532"/>
                </a:cubicBezTo>
                <a:cubicBezTo>
                  <a:pt x="1717440" y="438382"/>
                  <a:pt x="1743281" y="209819"/>
                  <a:pt x="1705085" y="36647"/>
                </a:cubicBezTo>
                <a:cubicBezTo>
                  <a:pt x="1704057" y="32274"/>
                  <a:pt x="1699679" y="29562"/>
                  <a:pt x="1695307" y="30589"/>
                </a:cubicBezTo>
                <a:cubicBezTo>
                  <a:pt x="1691176" y="31560"/>
                  <a:pt x="1688486" y="35541"/>
                  <a:pt x="1689127" y="39735"/>
                </a:cubicBezTo>
                <a:cubicBezTo>
                  <a:pt x="1699422" y="100480"/>
                  <a:pt x="1677904" y="285183"/>
                  <a:pt x="1657519" y="463915"/>
                </a:cubicBezTo>
                <a:cubicBezTo>
                  <a:pt x="1641046" y="607230"/>
                  <a:pt x="1625499" y="742720"/>
                  <a:pt x="1626632" y="811496"/>
                </a:cubicBezTo>
                <a:cubicBezTo>
                  <a:pt x="1626734" y="814939"/>
                  <a:pt x="1628942" y="817967"/>
                  <a:pt x="1632192" y="819114"/>
                </a:cubicBezTo>
                <a:cubicBezTo>
                  <a:pt x="1633276" y="819365"/>
                  <a:pt x="1634403" y="819365"/>
                  <a:pt x="1635486" y="819114"/>
                </a:cubicBezTo>
                <a:cubicBezTo>
                  <a:pt x="1633736" y="828277"/>
                  <a:pt x="1631883" y="836925"/>
                  <a:pt x="1630133" y="844957"/>
                </a:cubicBezTo>
                <a:cubicBezTo>
                  <a:pt x="1605217" y="731705"/>
                  <a:pt x="1614175" y="598788"/>
                  <a:pt x="1622823" y="469475"/>
                </a:cubicBezTo>
                <a:cubicBezTo>
                  <a:pt x="1632295" y="326365"/>
                  <a:pt x="1642178" y="178418"/>
                  <a:pt x="1607071" y="55179"/>
                </a:cubicBezTo>
                <a:cubicBezTo>
                  <a:pt x="1605932" y="51475"/>
                  <a:pt x="1602392" y="49044"/>
                  <a:pt x="1598525" y="49311"/>
                </a:cubicBezTo>
                <a:cubicBezTo>
                  <a:pt x="1594614" y="49640"/>
                  <a:pt x="1591496" y="52715"/>
                  <a:pt x="1591113" y="56620"/>
                </a:cubicBezTo>
                <a:cubicBezTo>
                  <a:pt x="1582052" y="143515"/>
                  <a:pt x="1581640" y="238853"/>
                  <a:pt x="1581331" y="331102"/>
                </a:cubicBezTo>
                <a:cubicBezTo>
                  <a:pt x="1581332" y="388139"/>
                  <a:pt x="1581332" y="446515"/>
                  <a:pt x="1578552" y="503142"/>
                </a:cubicBezTo>
                <a:cubicBezTo>
                  <a:pt x="1574742" y="431072"/>
                  <a:pt x="1574640" y="342118"/>
                  <a:pt x="1574433" y="255120"/>
                </a:cubicBezTo>
                <a:cubicBezTo>
                  <a:pt x="1574433" y="160606"/>
                  <a:pt x="1574433" y="71241"/>
                  <a:pt x="1569388" y="7305"/>
                </a:cubicBezTo>
                <a:cubicBezTo>
                  <a:pt x="1568930" y="2837"/>
                  <a:pt x="1564936" y="-415"/>
                  <a:pt x="1560468" y="42"/>
                </a:cubicBezTo>
                <a:cubicBezTo>
                  <a:pt x="1557096" y="388"/>
                  <a:pt x="1554290" y="2790"/>
                  <a:pt x="1553430" y="6070"/>
                </a:cubicBezTo>
                <a:cubicBezTo>
                  <a:pt x="1512866" y="178727"/>
                  <a:pt x="1498143" y="395552"/>
                  <a:pt x="1510806" y="604554"/>
                </a:cubicBezTo>
                <a:cubicBezTo>
                  <a:pt x="1503216" y="493967"/>
                  <a:pt x="1488914" y="383945"/>
                  <a:pt x="1467977" y="275094"/>
                </a:cubicBezTo>
                <a:cubicBezTo>
                  <a:pt x="1467202" y="271067"/>
                  <a:pt x="1463519" y="268271"/>
                  <a:pt x="1459431" y="268607"/>
                </a:cubicBezTo>
                <a:cubicBezTo>
                  <a:pt x="1455356" y="268958"/>
                  <a:pt x="1452155" y="272247"/>
                  <a:pt x="1451916" y="276329"/>
                </a:cubicBezTo>
                <a:cubicBezTo>
                  <a:pt x="1435237" y="573357"/>
                  <a:pt x="1451916" y="685066"/>
                  <a:pt x="1471272" y="814379"/>
                </a:cubicBezTo>
                <a:cubicBezTo>
                  <a:pt x="1475286" y="841250"/>
                  <a:pt x="1479404" y="868636"/>
                  <a:pt x="1483420" y="898699"/>
                </a:cubicBezTo>
                <a:cubicBezTo>
                  <a:pt x="1481152" y="896509"/>
                  <a:pt x="1477822" y="895827"/>
                  <a:pt x="1474875" y="896949"/>
                </a:cubicBezTo>
                <a:cubicBezTo>
                  <a:pt x="1471580" y="898160"/>
                  <a:pt x="1469453" y="901371"/>
                  <a:pt x="1469624" y="904876"/>
                </a:cubicBezTo>
                <a:lnTo>
                  <a:pt x="1475801" y="1056016"/>
                </a:lnTo>
                <a:cubicBezTo>
                  <a:pt x="1475802" y="1058693"/>
                  <a:pt x="1506689" y="1305376"/>
                  <a:pt x="1534486" y="1466709"/>
                </a:cubicBezTo>
                <a:cubicBezTo>
                  <a:pt x="1472713" y="1381357"/>
                  <a:pt x="1420617" y="1307127"/>
                  <a:pt x="1375110" y="1231556"/>
                </a:cubicBezTo>
                <a:cubicBezTo>
                  <a:pt x="1236222" y="827660"/>
                  <a:pt x="1107424" y="530425"/>
                  <a:pt x="1069124" y="524762"/>
                </a:cubicBezTo>
                <a:cubicBezTo>
                  <a:pt x="1064778" y="523997"/>
                  <a:pt x="1060386" y="525851"/>
                  <a:pt x="1057902" y="529499"/>
                </a:cubicBezTo>
                <a:cubicBezTo>
                  <a:pt x="1038341" y="556473"/>
                  <a:pt x="1117205" y="786271"/>
                  <a:pt x="1263815" y="1103376"/>
                </a:cubicBezTo>
                <a:cubicBezTo>
                  <a:pt x="1118647" y="850515"/>
                  <a:pt x="993966" y="628439"/>
                  <a:pt x="925398" y="342015"/>
                </a:cubicBezTo>
                <a:cubicBezTo>
                  <a:pt x="924455" y="338123"/>
                  <a:pt x="920849" y="335472"/>
                  <a:pt x="916853" y="335735"/>
                </a:cubicBezTo>
                <a:cubicBezTo>
                  <a:pt x="907625" y="336303"/>
                  <a:pt x="899447" y="341873"/>
                  <a:pt x="895541" y="350251"/>
                </a:cubicBezTo>
                <a:cubicBezTo>
                  <a:pt x="867948" y="405539"/>
                  <a:pt x="971007" y="639147"/>
                  <a:pt x="1062329" y="825498"/>
                </a:cubicBezTo>
                <a:cubicBezTo>
                  <a:pt x="1155607" y="1015966"/>
                  <a:pt x="1279155" y="1241955"/>
                  <a:pt x="1373669" y="1396183"/>
                </a:cubicBezTo>
                <a:cubicBezTo>
                  <a:pt x="1094555" y="1151354"/>
                  <a:pt x="790216" y="774328"/>
                  <a:pt x="511925" y="327807"/>
                </a:cubicBezTo>
                <a:cubicBezTo>
                  <a:pt x="509576" y="323980"/>
                  <a:pt x="504567" y="322782"/>
                  <a:pt x="500738" y="325133"/>
                </a:cubicBezTo>
                <a:cubicBezTo>
                  <a:pt x="497597" y="327063"/>
                  <a:pt x="496146" y="330864"/>
                  <a:pt x="497204" y="334396"/>
                </a:cubicBezTo>
                <a:cubicBezTo>
                  <a:pt x="590790" y="651502"/>
                  <a:pt x="862492" y="933087"/>
                  <a:pt x="1125236" y="1205406"/>
                </a:cubicBezTo>
                <a:cubicBezTo>
                  <a:pt x="1173934" y="1255854"/>
                  <a:pt x="1220676" y="1304244"/>
                  <a:pt x="1265462" y="1352118"/>
                </a:cubicBezTo>
                <a:cubicBezTo>
                  <a:pt x="875876" y="1078152"/>
                  <a:pt x="581319" y="654487"/>
                  <a:pt x="296026" y="244207"/>
                </a:cubicBezTo>
                <a:lnTo>
                  <a:pt x="243622" y="168740"/>
                </a:lnTo>
                <a:cubicBezTo>
                  <a:pt x="241327" y="165413"/>
                  <a:pt x="236918" y="164311"/>
                  <a:pt x="233327" y="166165"/>
                </a:cubicBezTo>
                <a:close/>
              </a:path>
            </a:pathLst>
          </a:custGeom>
          <a:solidFill>
            <a:schemeClr val="accent3">
              <a:lumMod val="40000"/>
              <a:lumOff val="60000"/>
              <a:alpha val="82000"/>
            </a:schemeClr>
          </a:solidFill>
          <a:ln w="9525"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36152551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am optio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B5ED18-7A07-47F1-8056-CD86B076AFE2}"/>
              </a:ext>
            </a:extLst>
          </p:cNvPr>
          <p:cNvSpPr>
            <a:spLocks noGrp="1"/>
          </p:cNvSpPr>
          <p:nvPr>
            <p:ph type="title" hasCustomPrompt="1"/>
          </p:nvPr>
        </p:nvSpPr>
        <p:spPr>
          <a:xfrm>
            <a:off x="457200" y="381000"/>
            <a:ext cx="11277600" cy="1325563"/>
          </a:xfrm>
        </p:spPr>
        <p:txBody>
          <a:bodyPr>
            <a:normAutofit/>
          </a:bodyPr>
          <a:lstStyle>
            <a:lvl1pPr>
              <a:defRPr sz="3600">
                <a:solidFill>
                  <a:schemeClr val="bg2">
                    <a:lumMod val="50000"/>
                  </a:schemeClr>
                </a:solidFill>
              </a:defRPr>
            </a:lvl1pPr>
          </a:lstStyle>
          <a:p>
            <a:r>
              <a:rPr lang="en-US"/>
              <a:t>CLICK TO ADD TITLE</a:t>
            </a:r>
          </a:p>
        </p:txBody>
      </p:sp>
      <p:sp>
        <p:nvSpPr>
          <p:cNvPr id="7" name="Picture Placeholder 6">
            <a:extLst>
              <a:ext uri="{FF2B5EF4-FFF2-40B4-BE49-F238E27FC236}">
                <a16:creationId xmlns:a16="http://schemas.microsoft.com/office/drawing/2014/main" id="{FB0F91E1-53D9-4A2A-923E-0CB7755188AD}"/>
              </a:ext>
            </a:extLst>
          </p:cNvPr>
          <p:cNvSpPr>
            <a:spLocks noGrp="1"/>
          </p:cNvSpPr>
          <p:nvPr>
            <p:ph type="pic" sz="quarter" idx="13"/>
          </p:nvPr>
        </p:nvSpPr>
        <p:spPr>
          <a:xfrm>
            <a:off x="457200" y="1806318"/>
            <a:ext cx="2286000" cy="3200400"/>
          </a:xfrm>
          <a:solidFill>
            <a:schemeClr val="accent2"/>
          </a:solidFill>
        </p:spPr>
        <p:txBody>
          <a:bodyPr/>
          <a:lstStyle/>
          <a:p>
            <a:endParaRPr lang="en-US"/>
          </a:p>
        </p:txBody>
      </p:sp>
      <p:sp>
        <p:nvSpPr>
          <p:cNvPr id="9" name="Picture Placeholder 6">
            <a:extLst>
              <a:ext uri="{FF2B5EF4-FFF2-40B4-BE49-F238E27FC236}">
                <a16:creationId xmlns:a16="http://schemas.microsoft.com/office/drawing/2014/main" id="{2F6A179B-CBDB-414D-B2F8-E1FEE9B831BE}"/>
              </a:ext>
            </a:extLst>
          </p:cNvPr>
          <p:cNvSpPr>
            <a:spLocks noGrp="1"/>
          </p:cNvSpPr>
          <p:nvPr>
            <p:ph type="pic" sz="quarter" idx="14"/>
          </p:nvPr>
        </p:nvSpPr>
        <p:spPr>
          <a:xfrm>
            <a:off x="3429000" y="1806318"/>
            <a:ext cx="2286000" cy="3200400"/>
          </a:xfrm>
          <a:solidFill>
            <a:schemeClr val="accent2"/>
          </a:solidFill>
        </p:spPr>
        <p:txBody>
          <a:bodyPr/>
          <a:lstStyle/>
          <a:p>
            <a:endParaRPr lang="en-US"/>
          </a:p>
        </p:txBody>
      </p:sp>
      <p:sp>
        <p:nvSpPr>
          <p:cNvPr id="10" name="Picture Placeholder 6">
            <a:extLst>
              <a:ext uri="{FF2B5EF4-FFF2-40B4-BE49-F238E27FC236}">
                <a16:creationId xmlns:a16="http://schemas.microsoft.com/office/drawing/2014/main" id="{F7A822EC-853A-46EC-8775-F8B48F2A81EB}"/>
              </a:ext>
            </a:extLst>
          </p:cNvPr>
          <p:cNvSpPr>
            <a:spLocks noGrp="1"/>
          </p:cNvSpPr>
          <p:nvPr>
            <p:ph type="pic" sz="quarter" idx="15"/>
          </p:nvPr>
        </p:nvSpPr>
        <p:spPr>
          <a:xfrm>
            <a:off x="6477000" y="1806318"/>
            <a:ext cx="2286000" cy="3200400"/>
          </a:xfrm>
          <a:solidFill>
            <a:schemeClr val="accent2"/>
          </a:solidFill>
        </p:spPr>
        <p:txBody>
          <a:bodyPr/>
          <a:lstStyle/>
          <a:p>
            <a:endParaRPr lang="en-US"/>
          </a:p>
        </p:txBody>
      </p:sp>
      <p:sp>
        <p:nvSpPr>
          <p:cNvPr id="11" name="Picture Placeholder 6">
            <a:extLst>
              <a:ext uri="{FF2B5EF4-FFF2-40B4-BE49-F238E27FC236}">
                <a16:creationId xmlns:a16="http://schemas.microsoft.com/office/drawing/2014/main" id="{AA0D329B-CAB8-4E3A-BA03-C17A79790B67}"/>
              </a:ext>
            </a:extLst>
          </p:cNvPr>
          <p:cNvSpPr>
            <a:spLocks noGrp="1"/>
          </p:cNvSpPr>
          <p:nvPr>
            <p:ph type="pic" sz="quarter" idx="16"/>
          </p:nvPr>
        </p:nvSpPr>
        <p:spPr>
          <a:xfrm>
            <a:off x="9452808" y="1806318"/>
            <a:ext cx="2286000" cy="3200400"/>
          </a:xfrm>
          <a:solidFill>
            <a:schemeClr val="accent2"/>
          </a:solidFill>
        </p:spPr>
        <p:txBody>
          <a:bodyPr/>
          <a:lstStyle/>
          <a:p>
            <a:endParaRPr lang="en-US"/>
          </a:p>
        </p:txBody>
      </p:sp>
      <p:sp>
        <p:nvSpPr>
          <p:cNvPr id="13" name="Text Placeholder 12">
            <a:extLst>
              <a:ext uri="{FF2B5EF4-FFF2-40B4-BE49-F238E27FC236}">
                <a16:creationId xmlns:a16="http://schemas.microsoft.com/office/drawing/2014/main" id="{A5F9E280-35B2-41C7-8D2D-C1FF69DE2CD9}"/>
              </a:ext>
            </a:extLst>
          </p:cNvPr>
          <p:cNvSpPr>
            <a:spLocks noGrp="1"/>
          </p:cNvSpPr>
          <p:nvPr>
            <p:ph type="body" sz="quarter" idx="17" hasCustomPrompt="1"/>
          </p:nvPr>
        </p:nvSpPr>
        <p:spPr>
          <a:xfrm>
            <a:off x="379376" y="5202936"/>
            <a:ext cx="2286000" cy="280027"/>
          </a:xfrm>
        </p:spPr>
        <p:txBody>
          <a:bodyPr>
            <a:noAutofit/>
          </a:bodyPr>
          <a:lstStyle>
            <a:lvl1pPr marL="0" indent="0">
              <a:buNone/>
              <a:defRPr sz="1600" b="0">
                <a:solidFill>
                  <a:schemeClr val="bg1">
                    <a:lumMod val="50000"/>
                  </a:schemeClr>
                </a:solidFill>
                <a:latin typeface="+mj-lt"/>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Name</a:t>
            </a:r>
          </a:p>
        </p:txBody>
      </p:sp>
      <p:sp>
        <p:nvSpPr>
          <p:cNvPr id="15" name="Text Placeholder 14">
            <a:extLst>
              <a:ext uri="{FF2B5EF4-FFF2-40B4-BE49-F238E27FC236}">
                <a16:creationId xmlns:a16="http://schemas.microsoft.com/office/drawing/2014/main" id="{E872F581-8AEF-4CFC-B0F3-79A2530C9319}"/>
              </a:ext>
            </a:extLst>
          </p:cNvPr>
          <p:cNvSpPr>
            <a:spLocks noGrp="1"/>
          </p:cNvSpPr>
          <p:nvPr>
            <p:ph type="body" sz="quarter" idx="18" hasCustomPrompt="1"/>
          </p:nvPr>
        </p:nvSpPr>
        <p:spPr>
          <a:xfrm>
            <a:off x="379376" y="5568696"/>
            <a:ext cx="2286000" cy="244475"/>
          </a:xfrm>
        </p:spPr>
        <p:txBody>
          <a:bodyPr>
            <a:noAutofit/>
          </a:bodyPr>
          <a:lstStyle>
            <a:lvl1pPr marL="0" indent="0">
              <a:buFont typeface="Arial" panose="020B0604020202020204" pitchFamily="34" charset="0"/>
              <a:buNone/>
              <a:defRPr sz="1200">
                <a:solidFill>
                  <a:schemeClr val="bg2">
                    <a:lumMod val="50000"/>
                  </a:schemeClr>
                </a:solidFill>
              </a:defRPr>
            </a:lvl1pPr>
            <a:lvl2pPr marL="457200" indent="0">
              <a:buFont typeface="Arial" panose="020B0604020202020204" pitchFamily="34" charset="0"/>
              <a:buNone/>
              <a:defRPr sz="1200"/>
            </a:lvl2pPr>
            <a:lvl3pPr marL="914400" indent="0">
              <a:buFont typeface="Arial" panose="020B0604020202020204" pitchFamily="34" charset="0"/>
              <a:buNone/>
              <a:defRPr sz="12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Title</a:t>
            </a:r>
          </a:p>
        </p:txBody>
      </p:sp>
      <p:sp>
        <p:nvSpPr>
          <p:cNvPr id="16" name="Text Placeholder 12">
            <a:extLst>
              <a:ext uri="{FF2B5EF4-FFF2-40B4-BE49-F238E27FC236}">
                <a16:creationId xmlns:a16="http://schemas.microsoft.com/office/drawing/2014/main" id="{1FA5D559-B67C-4F57-BC90-E982E66ADA5E}"/>
              </a:ext>
            </a:extLst>
          </p:cNvPr>
          <p:cNvSpPr>
            <a:spLocks noGrp="1"/>
          </p:cNvSpPr>
          <p:nvPr>
            <p:ph type="body" sz="quarter" idx="19" hasCustomPrompt="1"/>
          </p:nvPr>
        </p:nvSpPr>
        <p:spPr>
          <a:xfrm>
            <a:off x="3351175" y="5202936"/>
            <a:ext cx="2286000" cy="280027"/>
          </a:xfrm>
        </p:spPr>
        <p:txBody>
          <a:bodyPr>
            <a:noAutofit/>
          </a:bodyPr>
          <a:lstStyle>
            <a:lvl1pPr marL="0" indent="0">
              <a:buNone/>
              <a:defRPr sz="1600" b="0">
                <a:solidFill>
                  <a:schemeClr val="bg1">
                    <a:lumMod val="50000"/>
                  </a:schemeClr>
                </a:solidFill>
                <a:latin typeface="+mj-lt"/>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Name</a:t>
            </a:r>
          </a:p>
        </p:txBody>
      </p:sp>
      <p:sp>
        <p:nvSpPr>
          <p:cNvPr id="17" name="Text Placeholder 14">
            <a:extLst>
              <a:ext uri="{FF2B5EF4-FFF2-40B4-BE49-F238E27FC236}">
                <a16:creationId xmlns:a16="http://schemas.microsoft.com/office/drawing/2014/main" id="{F932B527-4126-40FF-8117-412DC7BD81F6}"/>
              </a:ext>
            </a:extLst>
          </p:cNvPr>
          <p:cNvSpPr>
            <a:spLocks noGrp="1"/>
          </p:cNvSpPr>
          <p:nvPr>
            <p:ph type="body" sz="quarter" idx="20" hasCustomPrompt="1"/>
          </p:nvPr>
        </p:nvSpPr>
        <p:spPr>
          <a:xfrm>
            <a:off x="3351174" y="5568696"/>
            <a:ext cx="2286000" cy="244475"/>
          </a:xfrm>
        </p:spPr>
        <p:txBody>
          <a:bodyPr>
            <a:noAutofit/>
          </a:bodyPr>
          <a:lstStyle>
            <a:lvl1pPr marL="0" indent="0">
              <a:buFont typeface="Arial" panose="020B0604020202020204" pitchFamily="34" charset="0"/>
              <a:buNone/>
              <a:defRPr sz="1200">
                <a:solidFill>
                  <a:schemeClr val="bg2">
                    <a:lumMod val="50000"/>
                  </a:schemeClr>
                </a:solidFill>
              </a:defRPr>
            </a:lvl1pPr>
            <a:lvl2pPr marL="457200" indent="0">
              <a:buFont typeface="Arial" panose="020B0604020202020204" pitchFamily="34" charset="0"/>
              <a:buNone/>
              <a:defRPr sz="1200"/>
            </a:lvl2pPr>
            <a:lvl3pPr marL="914400" indent="0">
              <a:buFont typeface="Arial" panose="020B0604020202020204" pitchFamily="34" charset="0"/>
              <a:buNone/>
              <a:defRPr sz="12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Title</a:t>
            </a:r>
          </a:p>
        </p:txBody>
      </p:sp>
      <p:sp>
        <p:nvSpPr>
          <p:cNvPr id="18" name="Text Placeholder 12">
            <a:extLst>
              <a:ext uri="{FF2B5EF4-FFF2-40B4-BE49-F238E27FC236}">
                <a16:creationId xmlns:a16="http://schemas.microsoft.com/office/drawing/2014/main" id="{D84B520F-D618-4828-AA40-CCCA0AF8966F}"/>
              </a:ext>
            </a:extLst>
          </p:cNvPr>
          <p:cNvSpPr>
            <a:spLocks noGrp="1"/>
          </p:cNvSpPr>
          <p:nvPr>
            <p:ph type="body" sz="quarter" idx="21" hasCustomPrompt="1"/>
          </p:nvPr>
        </p:nvSpPr>
        <p:spPr>
          <a:xfrm>
            <a:off x="6399176" y="5202936"/>
            <a:ext cx="2286000" cy="280027"/>
          </a:xfrm>
        </p:spPr>
        <p:txBody>
          <a:bodyPr>
            <a:noAutofit/>
          </a:bodyPr>
          <a:lstStyle>
            <a:lvl1pPr marL="0" indent="0">
              <a:buNone/>
              <a:defRPr sz="1600" b="0">
                <a:solidFill>
                  <a:schemeClr val="bg1">
                    <a:lumMod val="50000"/>
                  </a:schemeClr>
                </a:solidFill>
                <a:latin typeface="+mj-lt"/>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Name</a:t>
            </a:r>
          </a:p>
        </p:txBody>
      </p:sp>
      <p:sp>
        <p:nvSpPr>
          <p:cNvPr id="19" name="Text Placeholder 14">
            <a:extLst>
              <a:ext uri="{FF2B5EF4-FFF2-40B4-BE49-F238E27FC236}">
                <a16:creationId xmlns:a16="http://schemas.microsoft.com/office/drawing/2014/main" id="{39A9C8DE-6F8B-405D-A604-845E81998FA9}"/>
              </a:ext>
            </a:extLst>
          </p:cNvPr>
          <p:cNvSpPr>
            <a:spLocks noGrp="1"/>
          </p:cNvSpPr>
          <p:nvPr>
            <p:ph type="body" sz="quarter" idx="22" hasCustomPrompt="1"/>
          </p:nvPr>
        </p:nvSpPr>
        <p:spPr>
          <a:xfrm>
            <a:off x="6399175" y="5568696"/>
            <a:ext cx="2286000" cy="244475"/>
          </a:xfrm>
        </p:spPr>
        <p:txBody>
          <a:bodyPr>
            <a:noAutofit/>
          </a:bodyPr>
          <a:lstStyle>
            <a:lvl1pPr marL="0" indent="0">
              <a:buFont typeface="Arial" panose="020B0604020202020204" pitchFamily="34" charset="0"/>
              <a:buNone/>
              <a:defRPr sz="1200">
                <a:solidFill>
                  <a:schemeClr val="bg2">
                    <a:lumMod val="50000"/>
                  </a:schemeClr>
                </a:solidFill>
              </a:defRPr>
            </a:lvl1pPr>
            <a:lvl2pPr marL="457200" indent="0">
              <a:buFont typeface="Arial" panose="020B0604020202020204" pitchFamily="34" charset="0"/>
              <a:buNone/>
              <a:defRPr sz="1200"/>
            </a:lvl2pPr>
            <a:lvl3pPr marL="914400" indent="0">
              <a:buFont typeface="Arial" panose="020B0604020202020204" pitchFamily="34" charset="0"/>
              <a:buNone/>
              <a:defRPr sz="12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Title</a:t>
            </a:r>
          </a:p>
        </p:txBody>
      </p:sp>
      <p:sp>
        <p:nvSpPr>
          <p:cNvPr id="20" name="Text Placeholder 12">
            <a:extLst>
              <a:ext uri="{FF2B5EF4-FFF2-40B4-BE49-F238E27FC236}">
                <a16:creationId xmlns:a16="http://schemas.microsoft.com/office/drawing/2014/main" id="{AB0C4D8C-1454-41F3-934E-A2BA603449BF}"/>
              </a:ext>
            </a:extLst>
          </p:cNvPr>
          <p:cNvSpPr>
            <a:spLocks noGrp="1"/>
          </p:cNvSpPr>
          <p:nvPr>
            <p:ph type="body" sz="quarter" idx="23" hasCustomPrompt="1"/>
          </p:nvPr>
        </p:nvSpPr>
        <p:spPr>
          <a:xfrm>
            <a:off x="9374985" y="5202936"/>
            <a:ext cx="2286000" cy="280027"/>
          </a:xfrm>
        </p:spPr>
        <p:txBody>
          <a:bodyPr>
            <a:noAutofit/>
          </a:bodyPr>
          <a:lstStyle>
            <a:lvl1pPr marL="0" indent="0">
              <a:buNone/>
              <a:defRPr sz="1600" b="0">
                <a:solidFill>
                  <a:schemeClr val="bg1">
                    <a:lumMod val="50000"/>
                  </a:schemeClr>
                </a:solidFill>
                <a:latin typeface="+mj-lt"/>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US"/>
              <a:t>Name</a:t>
            </a:r>
          </a:p>
        </p:txBody>
      </p:sp>
      <p:sp>
        <p:nvSpPr>
          <p:cNvPr id="21" name="Text Placeholder 14">
            <a:extLst>
              <a:ext uri="{FF2B5EF4-FFF2-40B4-BE49-F238E27FC236}">
                <a16:creationId xmlns:a16="http://schemas.microsoft.com/office/drawing/2014/main" id="{45707A1B-C9F6-4ABB-A6CE-D2901CE94793}"/>
              </a:ext>
            </a:extLst>
          </p:cNvPr>
          <p:cNvSpPr>
            <a:spLocks noGrp="1"/>
          </p:cNvSpPr>
          <p:nvPr>
            <p:ph type="body" sz="quarter" idx="24" hasCustomPrompt="1"/>
          </p:nvPr>
        </p:nvSpPr>
        <p:spPr>
          <a:xfrm>
            <a:off x="9374984" y="5568696"/>
            <a:ext cx="2286000" cy="244475"/>
          </a:xfrm>
        </p:spPr>
        <p:txBody>
          <a:bodyPr>
            <a:noAutofit/>
          </a:bodyPr>
          <a:lstStyle>
            <a:lvl1pPr marL="0" indent="0">
              <a:buFont typeface="Arial" panose="020B0604020202020204" pitchFamily="34" charset="0"/>
              <a:buNone/>
              <a:defRPr sz="1200">
                <a:solidFill>
                  <a:schemeClr val="bg2">
                    <a:lumMod val="50000"/>
                  </a:schemeClr>
                </a:solidFill>
              </a:defRPr>
            </a:lvl1pPr>
            <a:lvl2pPr marL="457200" indent="0">
              <a:buFont typeface="Arial" panose="020B0604020202020204" pitchFamily="34" charset="0"/>
              <a:buNone/>
              <a:defRPr sz="1200"/>
            </a:lvl2pPr>
            <a:lvl3pPr marL="914400" indent="0">
              <a:buFont typeface="Arial" panose="020B0604020202020204" pitchFamily="34" charset="0"/>
              <a:buNone/>
              <a:defRPr sz="1200"/>
            </a:lvl3pPr>
            <a:lvl4pPr marL="1371600" indent="0">
              <a:buFont typeface="Arial" panose="020B0604020202020204" pitchFamily="34" charset="0"/>
              <a:buNone/>
              <a:defRPr sz="1200"/>
            </a:lvl4pPr>
            <a:lvl5pPr marL="1828800" indent="0">
              <a:buFont typeface="Arial" panose="020B0604020202020204" pitchFamily="34" charset="0"/>
              <a:buNone/>
              <a:defRPr sz="1200"/>
            </a:lvl5pPr>
          </a:lstStyle>
          <a:p>
            <a:pPr lvl="0"/>
            <a:r>
              <a:rPr lang="en-US"/>
              <a:t>Title</a:t>
            </a:r>
          </a:p>
        </p:txBody>
      </p:sp>
      <p:sp>
        <p:nvSpPr>
          <p:cNvPr id="3" name="Date Placeholder 2">
            <a:extLst>
              <a:ext uri="{FF2B5EF4-FFF2-40B4-BE49-F238E27FC236}">
                <a16:creationId xmlns:a16="http://schemas.microsoft.com/office/drawing/2014/main" id="{A0C71211-4520-46A1-9487-4AE49C3239EF}"/>
              </a:ext>
            </a:extLst>
          </p:cNvPr>
          <p:cNvSpPr>
            <a:spLocks noGrp="1"/>
          </p:cNvSpPr>
          <p:nvPr>
            <p:ph type="dt" sz="half" idx="10"/>
          </p:nvPr>
        </p:nvSpPr>
        <p:spPr/>
        <p:txBody>
          <a:bodyPr/>
          <a:lstStyle/>
          <a:p>
            <a:r>
              <a:rPr lang="en-US"/>
              <a:t>20XX</a:t>
            </a:r>
          </a:p>
        </p:txBody>
      </p:sp>
      <p:sp>
        <p:nvSpPr>
          <p:cNvPr id="4" name="Footer Placeholder 3">
            <a:extLst>
              <a:ext uri="{FF2B5EF4-FFF2-40B4-BE49-F238E27FC236}">
                <a16:creationId xmlns:a16="http://schemas.microsoft.com/office/drawing/2014/main" id="{96356206-85FD-45F5-A1F7-128DB34C860F}"/>
              </a:ext>
            </a:extLst>
          </p:cNvPr>
          <p:cNvSpPr>
            <a:spLocks noGrp="1"/>
          </p:cNvSpPr>
          <p:nvPr>
            <p:ph type="ftr" sz="quarter" idx="11"/>
          </p:nvPr>
        </p:nvSpPr>
        <p:spPr/>
        <p:txBody>
          <a:bodyPr/>
          <a:lstStyle/>
          <a:p>
            <a:r>
              <a:rPr lang="en-US"/>
              <a:t>Presentation title</a:t>
            </a:r>
          </a:p>
        </p:txBody>
      </p:sp>
      <p:sp>
        <p:nvSpPr>
          <p:cNvPr id="5" name="Slide Number Placeholder 4">
            <a:extLst>
              <a:ext uri="{FF2B5EF4-FFF2-40B4-BE49-F238E27FC236}">
                <a16:creationId xmlns:a16="http://schemas.microsoft.com/office/drawing/2014/main" id="{0203763F-C8CD-4BCB-9A0A-B10F000BC1DB}"/>
              </a:ext>
            </a:extLst>
          </p:cNvPr>
          <p:cNvSpPr>
            <a:spLocks noGrp="1"/>
          </p:cNvSpPr>
          <p:nvPr>
            <p:ph type="sldNum" sz="quarter" idx="12"/>
          </p:nvPr>
        </p:nvSpPr>
        <p:spPr/>
        <p:txBody>
          <a:bodyPr/>
          <a:lstStyle/>
          <a:p>
            <a:fld id="{294A09A9-5501-47C1-A89A-A340965A2BE2}" type="slidenum">
              <a:rPr lang="en-US" smtClean="0"/>
              <a:t>‹#›</a:t>
            </a:fld>
            <a:endParaRPr lang="en-US"/>
          </a:p>
        </p:txBody>
      </p:sp>
    </p:spTree>
    <p:extLst>
      <p:ext uri="{BB962C8B-B14F-4D97-AF65-F5344CB8AC3E}">
        <p14:creationId xmlns:p14="http://schemas.microsoft.com/office/powerpoint/2010/main" val="2020362452"/>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slideLayout" Target="../slideLayouts/slideLayout20.xml"/><Relationship Id="rId3" Type="http://schemas.openxmlformats.org/officeDocument/2006/relationships/slideLayout" Target="../slideLayouts/slideLayout5.xml"/><Relationship Id="rId21" Type="http://schemas.openxmlformats.org/officeDocument/2006/relationships/theme" Target="../theme/theme2.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 Type="http://schemas.openxmlformats.org/officeDocument/2006/relationships/slideLayout" Target="../slideLayouts/slideLayout4.xml"/><Relationship Id="rId16" Type="http://schemas.openxmlformats.org/officeDocument/2006/relationships/slideLayout" Target="../slideLayouts/slideLayout18.xml"/><Relationship Id="rId20" Type="http://schemas.openxmlformats.org/officeDocument/2006/relationships/slideLayout" Target="../slideLayouts/slideLayout22.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5" Type="http://schemas.openxmlformats.org/officeDocument/2006/relationships/slideLayout" Target="../slideLayouts/slideLayout17.xml"/><Relationship Id="rId10" Type="http://schemas.openxmlformats.org/officeDocument/2006/relationships/slideLayout" Target="../slideLayouts/slideLayout12.xml"/><Relationship Id="rId19" Type="http://schemas.openxmlformats.org/officeDocument/2006/relationships/slideLayout" Target="../slideLayouts/slideLayout21.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solidFill>
          <a:srgbClr val="061E44"/>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0" name="think-cell Slide" r:id="rId7" imgW="270" imgH="270" progId="TCLayout.ActiveDocument.1">
                  <p:embed/>
                </p:oleObj>
              </mc:Choice>
              <mc:Fallback>
                <p:oleObj name="think-cell Slide" r:id="rId7" imgW="270" imgH="270" progId="TCLayout.ActiveDocument.1">
                  <p:embed/>
                  <p:pic>
                    <p:nvPicPr>
                      <p:cNvPr id="7" name="Object 6" hidden="1"/>
                      <p:cNvPicPr/>
                      <p:nvPr/>
                    </p:nvPicPr>
                    <p:blipFill>
                      <a:blip r:embed="rId8"/>
                      <a:stretch>
                        <a:fillRect/>
                      </a:stretch>
                    </p:blipFill>
                    <p:spPr>
                      <a:xfrm>
                        <a:off x="1588" y="1588"/>
                        <a:ext cx="1587" cy="1587"/>
                      </a:xfrm>
                      <a:prstGeom prst="rect">
                        <a:avLst/>
                      </a:prstGeom>
                    </p:spPr>
                  </p:pic>
                </p:oleObj>
              </mc:Fallback>
            </mc:AlternateContent>
          </a:graphicData>
        </a:graphic>
      </p:graphicFrame>
    </p:spTree>
    <p:custDataLst>
      <p:tags r:id="rId5"/>
    </p:custDataLst>
    <p:extLst>
      <p:ext uri="{BB962C8B-B14F-4D97-AF65-F5344CB8AC3E}">
        <p14:creationId xmlns:p14="http://schemas.microsoft.com/office/powerpoint/2010/main" val="2025643753"/>
      </p:ext>
    </p:extLst>
  </p:cSld>
  <p:clrMap bg1="lt1" tx1="dk1" bg2="lt2" tx2="dk2" accent1="accent1" accent2="accent2" accent3="accent3" accent4="accent4" accent5="accent5" accent6="accent6" hlink="hlink" folHlink="folHlink"/>
  <p:sldLayoutIdLst>
    <p:sldLayoutId id="2147483669" r:id="rId1"/>
    <p:sldLayoutId id="2147483670"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6">
          <p15:clr>
            <a:srgbClr val="F26B43"/>
          </p15:clr>
        </p15:guide>
        <p15:guide id="2" pos="415">
          <p15:clr>
            <a:srgbClr val="F26B43"/>
          </p15:clr>
        </p15:guide>
        <p15:guide id="3" orient="horz" pos="3906">
          <p15:clr>
            <a:srgbClr val="F26B43"/>
          </p15:clr>
        </p15:guide>
        <p15:guide id="4" pos="726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962B82C-34E9-4F3B-9B0F-A3207161C41E}"/>
              </a:ext>
            </a:extLst>
          </p:cNvPr>
          <p:cNvSpPr/>
          <p:nvPr userDrawn="1"/>
        </p:nvSpPr>
        <p:spPr>
          <a:xfrm>
            <a:off x="10820400" y="813816"/>
            <a:ext cx="1371600" cy="457200"/>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9198F9AA-2C87-421D-97C1-B4248DFDC2C2}"/>
              </a:ext>
            </a:extLst>
          </p:cNvPr>
          <p:cNvSpPr>
            <a:spLocks noGrp="1"/>
          </p:cNvSpPr>
          <p:nvPr>
            <p:ph type="title"/>
          </p:nvPr>
        </p:nvSpPr>
        <p:spPr>
          <a:xfrm>
            <a:off x="457200" y="381000"/>
            <a:ext cx="11277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E98FC63-C8D2-4CE6-A3F1-EE8ED24590C4}"/>
              </a:ext>
            </a:extLst>
          </p:cNvPr>
          <p:cNvSpPr>
            <a:spLocks noGrp="1"/>
          </p:cNvSpPr>
          <p:nvPr>
            <p:ph type="body" idx="1"/>
          </p:nvPr>
        </p:nvSpPr>
        <p:spPr>
          <a:xfrm>
            <a:off x="457200" y="1825625"/>
            <a:ext cx="11277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ED77A09-15C2-4E47-948E-AACAFCA47D40}"/>
              </a:ext>
            </a:extLst>
          </p:cNvPr>
          <p:cNvSpPr>
            <a:spLocks noGrp="1"/>
          </p:cNvSpPr>
          <p:nvPr>
            <p:ph type="dt" sz="half" idx="2"/>
          </p:nvPr>
        </p:nvSpPr>
        <p:spPr>
          <a:xfrm>
            <a:off x="457200" y="6356350"/>
            <a:ext cx="2743200" cy="365125"/>
          </a:xfrm>
          <a:prstGeom prst="rect">
            <a:avLst/>
          </a:prstGeom>
        </p:spPr>
        <p:txBody>
          <a:bodyPr vert="horz" lIns="91440" tIns="45720" rIns="91440" bIns="45720" rtlCol="0" anchor="ctr"/>
          <a:lstStyle>
            <a:lvl1pPr algn="l">
              <a:defRPr sz="1100">
                <a:solidFill>
                  <a:schemeClr val="tx1">
                    <a:tint val="75000"/>
                  </a:schemeClr>
                </a:solidFill>
              </a:defRPr>
            </a:lvl1pPr>
          </a:lstStyle>
          <a:p>
            <a:r>
              <a:rPr lang="en-US"/>
              <a:t>20XX</a:t>
            </a:r>
          </a:p>
        </p:txBody>
      </p:sp>
      <p:sp>
        <p:nvSpPr>
          <p:cNvPr id="5" name="Footer Placeholder 4">
            <a:extLst>
              <a:ext uri="{FF2B5EF4-FFF2-40B4-BE49-F238E27FC236}">
                <a16:creationId xmlns:a16="http://schemas.microsoft.com/office/drawing/2014/main" id="{60567522-C3B6-46EB-A361-BEC2510B00C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100">
                <a:solidFill>
                  <a:schemeClr val="tx1">
                    <a:tint val="75000"/>
                  </a:schemeClr>
                </a:solidFill>
              </a:defRPr>
            </a:lvl1pPr>
          </a:lstStyle>
          <a:p>
            <a:r>
              <a:rPr lang="en-US"/>
              <a:t>Presentation title</a:t>
            </a:r>
          </a:p>
        </p:txBody>
      </p:sp>
      <p:sp>
        <p:nvSpPr>
          <p:cNvPr id="6" name="Slide Number Placeholder 5">
            <a:extLst>
              <a:ext uri="{FF2B5EF4-FFF2-40B4-BE49-F238E27FC236}">
                <a16:creationId xmlns:a16="http://schemas.microsoft.com/office/drawing/2014/main" id="{CDC57CF0-034F-450D-937C-718D5AF1A0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294A09A9-5501-47C1-A89A-A340965A2BE2}" type="slidenum">
              <a:rPr lang="en-US" smtClean="0"/>
              <a:pPr/>
              <a:t>‹#›</a:t>
            </a:fld>
            <a:endParaRPr lang="en-US"/>
          </a:p>
        </p:txBody>
      </p:sp>
    </p:spTree>
    <p:extLst>
      <p:ext uri="{BB962C8B-B14F-4D97-AF65-F5344CB8AC3E}">
        <p14:creationId xmlns:p14="http://schemas.microsoft.com/office/powerpoint/2010/main" val="311817394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 id="2147483690" r:id="rId19"/>
    <p:sldLayoutId id="2147483691" r:id="rId20"/>
  </p:sldLayoutIdLst>
  <p:hf hdr="0" dt="0"/>
  <p:txStyles>
    <p:titleStyle>
      <a:lvl1pPr algn="l" defTabSz="914400" rtl="0" eaLnBrk="1" latinLnBrk="0" hangingPunct="1">
        <a:lnSpc>
          <a:spcPct val="90000"/>
        </a:lnSpc>
        <a:spcBef>
          <a:spcPct val="0"/>
        </a:spcBef>
        <a:buNone/>
        <a:defRPr sz="3600" kern="1200" spc="30" baseline="0">
          <a:solidFill>
            <a:schemeClr val="bg1">
              <a:lumMod val="50000"/>
            </a:schemeClr>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2" pos="3840">
          <p15:clr>
            <a:srgbClr val="A4A3A4"/>
          </p15:clr>
        </p15:guide>
        <p15:guide id="3" pos="288">
          <p15:clr>
            <a:srgbClr val="547EBF"/>
          </p15:clr>
        </p15:guide>
        <p15:guide id="4" orient="horz" pos="240">
          <p15:clr>
            <a:srgbClr val="547EBF"/>
          </p15:clr>
        </p15:guide>
        <p15:guide id="5" pos="7392">
          <p15:clr>
            <a:srgbClr val="547EBF"/>
          </p15:clr>
        </p15:guide>
        <p15:guide id="6" orient="horz" pos="4080">
          <p15:clr>
            <a:srgbClr val="547EBF"/>
          </p15:clr>
        </p15:guide>
        <p15:guide id="7" pos="3960">
          <p15:clr>
            <a:srgbClr val="547EBF"/>
          </p15:clr>
        </p15:guide>
        <p15:guide id="8" pos="3720">
          <p15:clr>
            <a:srgbClr val="547EBF"/>
          </p15:clr>
        </p15:guide>
        <p15:guide id="9" pos="2112">
          <p15:clr>
            <a:srgbClr val="547EBF"/>
          </p15:clr>
        </p15:guide>
        <p15:guide id="10" pos="1848">
          <p15:clr>
            <a:srgbClr val="547EBF"/>
          </p15:clr>
        </p15:guide>
        <p15:guide id="11" pos="5568">
          <p15:clr>
            <a:srgbClr val="547EBF"/>
          </p15:clr>
        </p15:guide>
        <p15:guide id="12" pos="5832">
          <p15:clr>
            <a:srgbClr val="547EBF"/>
          </p15:clr>
        </p15:guide>
        <p15:guide id="13" pos="4968">
          <p15:clr>
            <a:srgbClr val="9FCC3B"/>
          </p15:clr>
        </p15:guide>
        <p15:guide id="14" pos="5208">
          <p15:clr>
            <a:srgbClr val="9FCC3B"/>
          </p15:clr>
        </p15:guide>
        <p15:guide id="15" pos="2712">
          <p15:clr>
            <a:srgbClr val="9FCC3B"/>
          </p15:clr>
        </p15:guide>
        <p15:guide id="16" pos="2472">
          <p15:clr>
            <a:srgbClr val="9FCC3B"/>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19.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4.xml"/><Relationship Id="rId1" Type="http://schemas.openxmlformats.org/officeDocument/2006/relationships/slideLayout" Target="../slideLayouts/slideLayout1.xml"/><Relationship Id="rId5" Type="http://schemas.openxmlformats.org/officeDocument/2006/relationships/image" Target="../media/image15.png"/><Relationship Id="rId4" Type="http://schemas.openxmlformats.org/officeDocument/2006/relationships/image" Target="../media/image14.png"/></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2.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34.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35.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7.png"/><Relationship Id="rId1" Type="http://schemas.openxmlformats.org/officeDocument/2006/relationships/slideLayout" Target="../slideLayouts/slideLayout21.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7.xml"/><Relationship Id="rId7" Type="http://schemas.openxmlformats.org/officeDocument/2006/relationships/image" Target="../media/image19.pn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image" Target="../media/image18.jpeg"/><Relationship Id="rId5" Type="http://schemas.openxmlformats.org/officeDocument/2006/relationships/hyperlink" Target="http://www.google.com/url?sa=i&amp;rct=j&amp;q=&amp;esrc=s&amp;frm=1&amp;source=images&amp;cd=&amp;cad=rja&amp;uact=8&amp;ved=0CAcQjRw&amp;url=http://realfall2011.dctc.edu/2011/11/09/give-a-gift-to-dctc/&amp;ei=SQv-VIrwG9ilyAST0IHQAQ&amp;psig=AFQjCNF71RrRGKqbCoF7pC9Hy1Om_cIXDA&amp;ust=1426021498931678" TargetMode="External"/><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1.xml"/><Relationship Id="rId5" Type="http://schemas.openxmlformats.org/officeDocument/2006/relationships/image" Target="../media/image11.png"/><Relationship Id="rId4" Type="http://schemas.openxmlformats.org/officeDocument/2006/relationships/image" Target="../media/image10.png"/></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1.xml"/><Relationship Id="rId1" Type="http://schemas.openxmlformats.org/officeDocument/2006/relationships/tags" Target="../tags/tag8.xml"/><Relationship Id="rId5" Type="http://schemas.openxmlformats.org/officeDocument/2006/relationships/image" Target="../media/image20.png"/><Relationship Id="rId4" Type="http://schemas.openxmlformats.org/officeDocument/2006/relationships/image" Target="../media/image19.png"/></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59.xml"/><Relationship Id="rId2" Type="http://schemas.openxmlformats.org/officeDocument/2006/relationships/slideLayout" Target="../slideLayouts/slideLayout1.xml"/><Relationship Id="rId1" Type="http://schemas.openxmlformats.org/officeDocument/2006/relationships/tags" Target="../tags/tag9.xml"/><Relationship Id="rId4" Type="http://schemas.openxmlformats.org/officeDocument/2006/relationships/hyperlink" Target="https://www.greenpath.com/partner/huecu/" TargetMode="Externa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9.xml"/></Relationships>
</file>

<file path=ppt/slides/_rels/slide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19.xml"/><Relationship Id="rId4" Type="http://schemas.openxmlformats.org/officeDocument/2006/relationships/image" Target="../media/image4.png"/></Relationships>
</file>

<file path=ppt/slides/_rels/slide65.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1.png"/><Relationship Id="rId7" Type="http://schemas.openxmlformats.org/officeDocument/2006/relationships/image" Target="../media/image23.png"/><Relationship Id="rId12" Type="http://schemas.openxmlformats.org/officeDocument/2006/relationships/image" Target="../media/image25.png"/><Relationship Id="rId2" Type="http://schemas.openxmlformats.org/officeDocument/2006/relationships/notesSlide" Target="../notesSlides/notesSlide61.xml"/><Relationship Id="rId1" Type="http://schemas.openxmlformats.org/officeDocument/2006/relationships/slideLayout" Target="../slideLayouts/slideLayout22.xml"/><Relationship Id="rId6" Type="http://schemas.openxmlformats.org/officeDocument/2006/relationships/image" Target="../media/image24.svg"/><Relationship Id="rId11" Type="http://schemas.openxmlformats.org/officeDocument/2006/relationships/image" Target="../media/image24.jpe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22.svg"/><Relationship Id="rId9" Type="http://schemas.openxmlformats.org/officeDocument/2006/relationships/image" Target="../media/image7.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12.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descr="A snowy mountain with trees and clouds&#10;&#10;Description automatically generated">
            <a:extLst>
              <a:ext uri="{FF2B5EF4-FFF2-40B4-BE49-F238E27FC236}">
                <a16:creationId xmlns:a16="http://schemas.microsoft.com/office/drawing/2014/main" id="{AFE523D6-7841-47EC-B6FC-983BC4547140}"/>
              </a:ext>
            </a:extLst>
          </p:cNvPr>
          <p:cNvPicPr>
            <a:picLocks noGrp="1" noChangeAspect="1"/>
          </p:cNvPicPr>
          <p:nvPr>
            <p:ph type="pic" sz="quarter" idx="10"/>
          </p:nvPr>
        </p:nvPicPr>
        <p:blipFill rotWithShape="1">
          <a:blip r:embed="rId2"/>
          <a:srcRect l="1274" r="1274"/>
          <a:stretch/>
        </p:blipFill>
        <p:spPr>
          <a:xfrm>
            <a:off x="-1750292" y="-1030962"/>
            <a:ext cx="17262740" cy="10953526"/>
          </a:xfrm>
          <a:prstGeom prst="rect">
            <a:avLst/>
          </a:prstGeom>
        </p:spPr>
      </p:pic>
      <p:sp>
        <p:nvSpPr>
          <p:cNvPr id="2" name="Rectangle 1">
            <a:extLst>
              <a:ext uri="{FF2B5EF4-FFF2-40B4-BE49-F238E27FC236}">
                <a16:creationId xmlns:a16="http://schemas.microsoft.com/office/drawing/2014/main" id="{AD962A01-6AE2-3E94-261B-E45131309078}"/>
              </a:ext>
            </a:extLst>
          </p:cNvPr>
          <p:cNvSpPr/>
          <p:nvPr/>
        </p:nvSpPr>
        <p:spPr>
          <a:xfrm>
            <a:off x="-2307066" y="-1755919"/>
            <a:ext cx="19604296" cy="12403440"/>
          </a:xfrm>
          <a:prstGeom prst="rect">
            <a:avLst/>
          </a:prstGeom>
          <a:solidFill>
            <a:srgbClr val="000000">
              <a:alpha val="7059"/>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Light"/>
              <a:ea typeface="+mn-ea"/>
              <a:cs typeface="+mn-cs"/>
            </a:endParaRPr>
          </a:p>
        </p:txBody>
      </p:sp>
      <p:sp>
        <p:nvSpPr>
          <p:cNvPr id="5" name="Subtitle 4">
            <a:extLst>
              <a:ext uri="{FF2B5EF4-FFF2-40B4-BE49-F238E27FC236}">
                <a16:creationId xmlns:a16="http://schemas.microsoft.com/office/drawing/2014/main" id="{4629126B-8A12-F046-8967-3BB074B17A21}"/>
              </a:ext>
            </a:extLst>
          </p:cNvPr>
          <p:cNvSpPr>
            <a:spLocks noGrp="1"/>
          </p:cNvSpPr>
          <p:nvPr>
            <p:ph type="subTitle" idx="1"/>
          </p:nvPr>
        </p:nvSpPr>
        <p:spPr>
          <a:xfrm>
            <a:off x="1491521" y="3416513"/>
            <a:ext cx="8214610" cy="993068"/>
          </a:xfrm>
        </p:spPr>
        <p:txBody>
          <a:bodyPr vert="horz" lIns="91440" tIns="45720" rIns="91440" bIns="45720" rtlCol="0" anchor="t">
            <a:noAutofit/>
          </a:bodyPr>
          <a:lstStyle/>
          <a:p>
            <a:r>
              <a:rPr lang="en-US" sz="4000" dirty="0" smtClean="0">
                <a:solidFill>
                  <a:schemeClr val="bg1"/>
                </a:solidFill>
                <a:latin typeface="Gilroy SemiBold"/>
                <a:ea typeface="Open Sans"/>
                <a:cs typeface="Open Sans"/>
              </a:rPr>
              <a:t>Managing Credit</a:t>
            </a:r>
            <a:endParaRPr lang="en-US" sz="4000" dirty="0">
              <a:solidFill>
                <a:schemeClr val="bg1"/>
              </a:solidFill>
              <a:latin typeface="Gilroy SemiBold"/>
              <a:ea typeface="Open Sans"/>
              <a:cs typeface="Open Sans"/>
            </a:endParaRPr>
          </a:p>
        </p:txBody>
      </p:sp>
      <p:sp>
        <p:nvSpPr>
          <p:cNvPr id="8" name="Subtitle 4">
            <a:extLst>
              <a:ext uri="{FF2B5EF4-FFF2-40B4-BE49-F238E27FC236}">
                <a16:creationId xmlns:a16="http://schemas.microsoft.com/office/drawing/2014/main" id="{4629126B-8A12-F046-8967-3BB074B17A21}"/>
              </a:ext>
            </a:extLst>
          </p:cNvPr>
          <p:cNvSpPr txBox="1">
            <a:spLocks/>
          </p:cNvSpPr>
          <p:nvPr/>
        </p:nvSpPr>
        <p:spPr>
          <a:xfrm>
            <a:off x="1356733" y="2152600"/>
            <a:ext cx="10178198" cy="861134"/>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2000" b="0" i="0" kern="120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457189" indent="0" algn="ctr" defTabSz="914400" rtl="0" eaLnBrk="1" latinLnBrk="0" hangingPunct="1">
              <a:lnSpc>
                <a:spcPct val="90000"/>
              </a:lnSpc>
              <a:spcBef>
                <a:spcPts val="500"/>
              </a:spcBef>
              <a:buFont typeface="Arial" panose="020B0604020202020204" pitchFamily="34" charset="0"/>
              <a:buNone/>
              <a:defRPr sz="2000" kern="1200">
                <a:solidFill>
                  <a:schemeClr val="tx1">
                    <a:lumMod val="75000"/>
                    <a:lumOff val="25000"/>
                  </a:schemeClr>
                </a:solidFill>
                <a:latin typeface="+mn-lt"/>
                <a:ea typeface="+mn-ea"/>
                <a:cs typeface="+mn-cs"/>
              </a:defRPr>
            </a:lvl2pPr>
            <a:lvl3pPr marL="914377" indent="0" algn="ctr" defTabSz="914400" rtl="0" eaLnBrk="1" latinLnBrk="0" hangingPunct="1">
              <a:lnSpc>
                <a:spcPct val="90000"/>
              </a:lnSpc>
              <a:spcBef>
                <a:spcPts val="500"/>
              </a:spcBef>
              <a:buFont typeface="Arial" panose="020B0604020202020204" pitchFamily="34" charset="0"/>
              <a:buNone/>
              <a:defRPr sz="1800" kern="1200">
                <a:solidFill>
                  <a:schemeClr val="tx1">
                    <a:lumMod val="75000"/>
                    <a:lumOff val="25000"/>
                  </a:schemeClr>
                </a:solidFill>
                <a:latin typeface="+mn-lt"/>
                <a:ea typeface="+mn-ea"/>
                <a:cs typeface="+mn-cs"/>
              </a:defRPr>
            </a:lvl3pPr>
            <a:lvl4pPr marL="1371566" indent="0" algn="ctr"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4pPr>
            <a:lvl5pPr marL="1828754" indent="0" algn="ctr"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5pPr>
            <a:lvl6pPr marL="2285943"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131"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32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509"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6000" b="0" i="0" u="none" strike="noStrike" kern="1200" cap="none" spc="0" normalizeH="0" baseline="0" noProof="0" dirty="0">
                <a:ln>
                  <a:noFill/>
                </a:ln>
                <a:solidFill>
                  <a:srgbClr val="C2E4E8"/>
                </a:solidFill>
                <a:effectLst/>
                <a:uLnTx/>
                <a:uFillTx/>
                <a:latin typeface="Klinic Slab Bold"/>
                <a:ea typeface="Open Sans"/>
                <a:cs typeface="Open Sans"/>
              </a:rPr>
              <a:t>Wintersession 2024</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56733" y="1206867"/>
            <a:ext cx="2684595" cy="542953"/>
          </a:xfrm>
          <a:prstGeom prst="rect">
            <a:avLst/>
          </a:prstGeom>
        </p:spPr>
      </p:pic>
      <p:cxnSp>
        <p:nvCxnSpPr>
          <p:cNvPr id="10" name="Straight Connector 9"/>
          <p:cNvCxnSpPr/>
          <p:nvPr/>
        </p:nvCxnSpPr>
        <p:spPr>
          <a:xfrm>
            <a:off x="1491521" y="3204622"/>
            <a:ext cx="6290404" cy="21003"/>
          </a:xfrm>
          <a:prstGeom prst="line">
            <a:avLst/>
          </a:prstGeom>
          <a:ln w="57150">
            <a:solidFill>
              <a:srgbClr val="C2E4E8"/>
            </a:solidFill>
          </a:ln>
        </p:spPr>
        <p:style>
          <a:lnRef idx="1">
            <a:schemeClr val="accent1"/>
          </a:lnRef>
          <a:fillRef idx="0">
            <a:schemeClr val="accent1"/>
          </a:fillRef>
          <a:effectRef idx="0">
            <a:schemeClr val="accent1"/>
          </a:effectRef>
          <a:fontRef idx="minor">
            <a:schemeClr val="tx1"/>
          </a:fontRef>
        </p:style>
      </p:cxnSp>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82929" y="814204"/>
            <a:ext cx="1441596" cy="935616"/>
          </a:xfrm>
          <a:prstGeom prst="rect">
            <a:avLst/>
          </a:prstGeom>
        </p:spPr>
      </p:pic>
    </p:spTree>
    <p:extLst>
      <p:ext uri="{BB962C8B-B14F-4D97-AF65-F5344CB8AC3E}">
        <p14:creationId xmlns:p14="http://schemas.microsoft.com/office/powerpoint/2010/main" val="4694147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2192111"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Agenda</a:t>
            </a:r>
          </a:p>
        </p:txBody>
      </p:sp>
      <p:sp>
        <p:nvSpPr>
          <p:cNvPr id="6" name="TextBox 5">
            <a:extLst>
              <a:ext uri="{FF2B5EF4-FFF2-40B4-BE49-F238E27FC236}">
                <a16:creationId xmlns:a16="http://schemas.microsoft.com/office/drawing/2014/main" id="{10E40874-0B8C-90DA-85FA-58ACFDA489CD}"/>
              </a:ext>
            </a:extLst>
          </p:cNvPr>
          <p:cNvSpPr txBox="1"/>
          <p:nvPr/>
        </p:nvSpPr>
        <p:spPr>
          <a:xfrm>
            <a:off x="3048000" y="1823357"/>
            <a:ext cx="5910592" cy="2677656"/>
          </a:xfrm>
          <a:prstGeom prst="rect">
            <a:avLst/>
          </a:prstGeom>
          <a:noFill/>
        </p:spPr>
        <p:txBody>
          <a:bodyPr wrap="none" rtlCol="0">
            <a:spAutoFit/>
          </a:bodyPr>
          <a:lstStyle/>
          <a:p>
            <a:pPr marL="285750"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Basics of credit</a:t>
            </a:r>
          </a:p>
          <a:p>
            <a:pPr marL="285750" indent="-285750">
              <a:buFont typeface="Arial" panose="020B0604020202020204" pitchFamily="34" charset="0"/>
              <a:buChar char="•"/>
            </a:pPr>
            <a:endParaRPr lang="en-US" sz="2800" dirty="0">
              <a:solidFill>
                <a:srgbClr val="FFFFFF">
                  <a:alpha val="30000"/>
                </a:srgbClr>
              </a:solidFill>
              <a:latin typeface="Century Gothic" panose="020B0502020202020204" pitchFamily="34" charset="0"/>
            </a:endParaRPr>
          </a:p>
          <a:p>
            <a:pPr marL="285750"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Why credit is important</a:t>
            </a:r>
          </a:p>
          <a:p>
            <a:pPr marL="285750" indent="-285750">
              <a:buFont typeface="Arial" panose="020B0604020202020204" pitchFamily="34" charset="0"/>
              <a:buChar char="•"/>
            </a:pPr>
            <a:endParaRPr lang="en-US" sz="2800" dirty="0">
              <a:solidFill>
                <a:srgbClr val="FFFFFF"/>
              </a:solidFill>
              <a:latin typeface="Century Gothic" panose="020B0502020202020204" pitchFamily="34" charset="0"/>
            </a:endParaRPr>
          </a:p>
          <a:p>
            <a:pPr marL="285750" indent="-285750">
              <a:buFont typeface="Arial" panose="020B0604020202020204" pitchFamily="34" charset="0"/>
              <a:buChar char="•"/>
            </a:pPr>
            <a:r>
              <a:rPr lang="en-US" sz="2800" dirty="0">
                <a:solidFill>
                  <a:srgbClr val="FFFFFF"/>
                </a:solidFill>
                <a:latin typeface="Century Gothic" panose="020B0502020202020204" pitchFamily="34" charset="0"/>
              </a:rPr>
              <a:t>What impacts your credit score</a:t>
            </a:r>
          </a:p>
          <a:p>
            <a:pPr marL="285750" indent="-285750">
              <a:buFont typeface="Arial" panose="020B0604020202020204" pitchFamily="34" charset="0"/>
              <a:buChar char="•"/>
            </a:pPr>
            <a:endParaRPr lang="en-US" sz="2800" dirty="0">
              <a:solidFill>
                <a:srgbClr val="FFFFFF"/>
              </a:solidFill>
              <a:latin typeface="Century Gothic" panose="020B0502020202020204" pitchFamily="34" charset="0"/>
            </a:endParaRPr>
          </a:p>
        </p:txBody>
      </p:sp>
    </p:spTree>
    <p:extLst>
      <p:ext uri="{BB962C8B-B14F-4D97-AF65-F5344CB8AC3E}">
        <p14:creationId xmlns:p14="http://schemas.microsoft.com/office/powerpoint/2010/main" val="18164993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2192111"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Agenda</a:t>
            </a:r>
          </a:p>
        </p:txBody>
      </p:sp>
      <p:sp>
        <p:nvSpPr>
          <p:cNvPr id="6" name="TextBox 5">
            <a:extLst>
              <a:ext uri="{FF2B5EF4-FFF2-40B4-BE49-F238E27FC236}">
                <a16:creationId xmlns:a16="http://schemas.microsoft.com/office/drawing/2014/main" id="{2924A30A-BADA-602F-E4DD-B603EA9A5DAC}"/>
              </a:ext>
            </a:extLst>
          </p:cNvPr>
          <p:cNvSpPr txBox="1"/>
          <p:nvPr/>
        </p:nvSpPr>
        <p:spPr>
          <a:xfrm>
            <a:off x="3048000" y="1823357"/>
            <a:ext cx="5910592" cy="3108543"/>
          </a:xfrm>
          <a:prstGeom prst="rect">
            <a:avLst/>
          </a:prstGeom>
          <a:noFill/>
        </p:spPr>
        <p:txBody>
          <a:bodyPr wrap="none" rtlCol="0">
            <a:spAutoFit/>
          </a:bodyPr>
          <a:lstStyle/>
          <a:p>
            <a:pPr marL="285750"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Basics of credit</a:t>
            </a:r>
          </a:p>
          <a:p>
            <a:pPr marL="285750" indent="-285750">
              <a:buFont typeface="Arial" panose="020B0604020202020204" pitchFamily="34" charset="0"/>
              <a:buChar char="•"/>
            </a:pPr>
            <a:endParaRPr lang="en-US" sz="2800" dirty="0">
              <a:solidFill>
                <a:srgbClr val="FFFFFF">
                  <a:alpha val="30000"/>
                </a:srgbClr>
              </a:solidFill>
              <a:latin typeface="Century Gothic" panose="020B0502020202020204" pitchFamily="34" charset="0"/>
            </a:endParaRPr>
          </a:p>
          <a:p>
            <a:pPr marL="285750"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Why credit is important</a:t>
            </a:r>
          </a:p>
          <a:p>
            <a:pPr marL="285750" indent="-285750">
              <a:buFont typeface="Arial" panose="020B0604020202020204" pitchFamily="34" charset="0"/>
              <a:buChar char="•"/>
            </a:pPr>
            <a:endParaRPr lang="en-US" sz="2800" dirty="0">
              <a:solidFill>
                <a:srgbClr val="FFFFFF">
                  <a:alpha val="30000"/>
                </a:srgbClr>
              </a:solidFill>
              <a:latin typeface="Century Gothic" panose="020B0502020202020204" pitchFamily="34" charset="0"/>
            </a:endParaRPr>
          </a:p>
          <a:p>
            <a:pPr marL="285750"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What impacts your credit score</a:t>
            </a:r>
          </a:p>
          <a:p>
            <a:pPr marL="285750" indent="-285750">
              <a:buFont typeface="Arial" panose="020B0604020202020204" pitchFamily="34" charset="0"/>
              <a:buChar char="•"/>
            </a:pPr>
            <a:endParaRPr lang="en-US" sz="2800" dirty="0">
              <a:solidFill>
                <a:srgbClr val="FFFFFF"/>
              </a:solidFill>
              <a:latin typeface="Century Gothic" panose="020B0502020202020204" pitchFamily="34" charset="0"/>
            </a:endParaRPr>
          </a:p>
          <a:p>
            <a:pPr marL="285750" indent="-285750">
              <a:buFont typeface="Arial" panose="020B0604020202020204" pitchFamily="34" charset="0"/>
              <a:buChar char="•"/>
            </a:pPr>
            <a:r>
              <a:rPr lang="en-US" sz="2800" dirty="0">
                <a:solidFill>
                  <a:srgbClr val="FFFFFF"/>
                </a:solidFill>
                <a:latin typeface="Century Gothic" panose="020B0502020202020204" pitchFamily="34" charset="0"/>
              </a:rPr>
              <a:t>How to build (or rebuild) credit</a:t>
            </a:r>
          </a:p>
        </p:txBody>
      </p:sp>
    </p:spTree>
    <p:extLst>
      <p:ext uri="{BB962C8B-B14F-4D97-AF65-F5344CB8AC3E}">
        <p14:creationId xmlns:p14="http://schemas.microsoft.com/office/powerpoint/2010/main" val="25635417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2192111"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Agenda</a:t>
            </a:r>
          </a:p>
        </p:txBody>
      </p:sp>
      <p:sp>
        <p:nvSpPr>
          <p:cNvPr id="5" name="TextBox 4">
            <a:extLst>
              <a:ext uri="{FF2B5EF4-FFF2-40B4-BE49-F238E27FC236}">
                <a16:creationId xmlns:a16="http://schemas.microsoft.com/office/drawing/2014/main" id="{C1AA8157-E291-D9CF-0095-2032004B0650}"/>
              </a:ext>
            </a:extLst>
          </p:cNvPr>
          <p:cNvSpPr txBox="1"/>
          <p:nvPr/>
        </p:nvSpPr>
        <p:spPr>
          <a:xfrm>
            <a:off x="3048000" y="1823357"/>
            <a:ext cx="5910592" cy="3970318"/>
          </a:xfrm>
          <a:prstGeom prst="rect">
            <a:avLst/>
          </a:prstGeom>
          <a:noFill/>
        </p:spPr>
        <p:txBody>
          <a:bodyPr wrap="none" rtlCol="0">
            <a:spAutoFit/>
          </a:bodyPr>
          <a:lstStyle/>
          <a:p>
            <a:pPr marL="285750"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Basics of credit</a:t>
            </a:r>
          </a:p>
          <a:p>
            <a:pPr marL="285750" indent="-285750">
              <a:buFont typeface="Arial" panose="020B0604020202020204" pitchFamily="34" charset="0"/>
              <a:buChar char="•"/>
            </a:pPr>
            <a:endParaRPr lang="en-US" sz="2800" dirty="0">
              <a:solidFill>
                <a:srgbClr val="FFFFFF">
                  <a:alpha val="30000"/>
                </a:srgbClr>
              </a:solidFill>
              <a:latin typeface="Century Gothic" panose="020B0502020202020204" pitchFamily="34" charset="0"/>
            </a:endParaRPr>
          </a:p>
          <a:p>
            <a:pPr marL="285750"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Why credit is important</a:t>
            </a:r>
          </a:p>
          <a:p>
            <a:pPr marL="285750" indent="-285750">
              <a:buFont typeface="Arial" panose="020B0604020202020204" pitchFamily="34" charset="0"/>
              <a:buChar char="•"/>
            </a:pPr>
            <a:endParaRPr lang="en-US" sz="2800" dirty="0">
              <a:solidFill>
                <a:srgbClr val="FFFFFF">
                  <a:alpha val="30000"/>
                </a:srgbClr>
              </a:solidFill>
              <a:latin typeface="Century Gothic" panose="020B0502020202020204" pitchFamily="34" charset="0"/>
            </a:endParaRPr>
          </a:p>
          <a:p>
            <a:pPr marL="285750"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What impacts your credit score</a:t>
            </a:r>
          </a:p>
          <a:p>
            <a:pPr marL="285750" indent="-285750">
              <a:buFont typeface="Arial" panose="020B0604020202020204" pitchFamily="34" charset="0"/>
              <a:buChar char="•"/>
            </a:pPr>
            <a:endParaRPr lang="en-US" sz="2800" dirty="0">
              <a:solidFill>
                <a:srgbClr val="FFFFFF">
                  <a:alpha val="30000"/>
                </a:srgbClr>
              </a:solidFill>
              <a:latin typeface="Century Gothic" panose="020B0502020202020204" pitchFamily="34" charset="0"/>
            </a:endParaRPr>
          </a:p>
          <a:p>
            <a:pPr marL="285750"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How to build (or rebuild) credit</a:t>
            </a:r>
          </a:p>
          <a:p>
            <a:pPr marL="285750" indent="-285750">
              <a:buFont typeface="Arial" panose="020B0604020202020204" pitchFamily="34" charset="0"/>
              <a:buChar char="•"/>
            </a:pPr>
            <a:endParaRPr lang="en-US" sz="2800" dirty="0">
              <a:solidFill>
                <a:srgbClr val="FFFFFF"/>
              </a:solidFill>
              <a:latin typeface="Century Gothic" panose="020B0502020202020204" pitchFamily="34" charset="0"/>
            </a:endParaRPr>
          </a:p>
          <a:p>
            <a:pPr marL="285750" indent="-285750">
              <a:buFont typeface="Arial" panose="020B0604020202020204" pitchFamily="34" charset="0"/>
              <a:buChar char="•"/>
            </a:pPr>
            <a:r>
              <a:rPr lang="en-US" sz="2800" dirty="0">
                <a:solidFill>
                  <a:srgbClr val="FFFFFF"/>
                </a:solidFill>
                <a:latin typeface="Century Gothic" panose="020B0502020202020204" pitchFamily="34" charset="0"/>
              </a:rPr>
              <a:t>Busting credit myths</a:t>
            </a:r>
          </a:p>
        </p:txBody>
      </p:sp>
    </p:spTree>
    <p:extLst>
      <p:ext uri="{BB962C8B-B14F-4D97-AF65-F5344CB8AC3E}">
        <p14:creationId xmlns:p14="http://schemas.microsoft.com/office/powerpoint/2010/main" val="326695302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2192111"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Agenda</a:t>
            </a:r>
          </a:p>
        </p:txBody>
      </p:sp>
      <p:sp>
        <p:nvSpPr>
          <p:cNvPr id="5" name="TextBox 4">
            <a:extLst>
              <a:ext uri="{FF2B5EF4-FFF2-40B4-BE49-F238E27FC236}">
                <a16:creationId xmlns:a16="http://schemas.microsoft.com/office/drawing/2014/main" id="{C1AA8157-E291-D9CF-0095-2032004B0650}"/>
              </a:ext>
            </a:extLst>
          </p:cNvPr>
          <p:cNvSpPr txBox="1"/>
          <p:nvPr/>
        </p:nvSpPr>
        <p:spPr>
          <a:xfrm>
            <a:off x="3048000" y="1823357"/>
            <a:ext cx="5910592" cy="4832092"/>
          </a:xfrm>
          <a:prstGeom prst="rect">
            <a:avLst/>
          </a:prstGeom>
          <a:noFill/>
        </p:spPr>
        <p:txBody>
          <a:bodyPr wrap="none" rtlCol="0">
            <a:spAutoFit/>
          </a:bodyPr>
          <a:lstStyle/>
          <a:p>
            <a:pPr marL="285750"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Basics of credit</a:t>
            </a:r>
          </a:p>
          <a:p>
            <a:pPr marL="285750" indent="-285750">
              <a:buFont typeface="Arial" panose="020B0604020202020204" pitchFamily="34" charset="0"/>
              <a:buChar char="•"/>
            </a:pPr>
            <a:endParaRPr lang="en-US" sz="2800" dirty="0">
              <a:solidFill>
                <a:srgbClr val="FFFFFF">
                  <a:alpha val="30000"/>
                </a:srgbClr>
              </a:solidFill>
              <a:latin typeface="Century Gothic" panose="020B0502020202020204" pitchFamily="34" charset="0"/>
            </a:endParaRPr>
          </a:p>
          <a:p>
            <a:pPr marL="285750"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Why credit is important</a:t>
            </a:r>
          </a:p>
          <a:p>
            <a:pPr marL="285750" indent="-285750">
              <a:buFont typeface="Arial" panose="020B0604020202020204" pitchFamily="34" charset="0"/>
              <a:buChar char="•"/>
            </a:pPr>
            <a:endParaRPr lang="en-US" sz="2800" dirty="0">
              <a:solidFill>
                <a:srgbClr val="FFFFFF">
                  <a:alpha val="30000"/>
                </a:srgbClr>
              </a:solidFill>
              <a:latin typeface="Century Gothic" panose="020B0502020202020204" pitchFamily="34" charset="0"/>
            </a:endParaRPr>
          </a:p>
          <a:p>
            <a:pPr marL="285750"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What impacts your credit score</a:t>
            </a:r>
          </a:p>
          <a:p>
            <a:pPr marL="285750" indent="-285750">
              <a:buFont typeface="Arial" panose="020B0604020202020204" pitchFamily="34" charset="0"/>
              <a:buChar char="•"/>
            </a:pPr>
            <a:endParaRPr lang="en-US" sz="2800" dirty="0">
              <a:solidFill>
                <a:srgbClr val="FFFFFF">
                  <a:alpha val="30000"/>
                </a:srgbClr>
              </a:solidFill>
              <a:latin typeface="Century Gothic" panose="020B0502020202020204" pitchFamily="34" charset="0"/>
            </a:endParaRPr>
          </a:p>
          <a:p>
            <a:pPr marL="285750"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How to build (or rebuild) credit</a:t>
            </a:r>
          </a:p>
          <a:p>
            <a:pPr marL="285750" indent="-285750">
              <a:buFont typeface="Arial" panose="020B0604020202020204" pitchFamily="34" charset="0"/>
              <a:buChar char="•"/>
            </a:pPr>
            <a:endParaRPr lang="en-US" sz="2800" dirty="0">
              <a:solidFill>
                <a:srgbClr val="FFFFFF">
                  <a:alpha val="30000"/>
                </a:srgbClr>
              </a:solidFill>
              <a:latin typeface="Century Gothic" panose="020B0502020202020204" pitchFamily="34" charset="0"/>
            </a:endParaRPr>
          </a:p>
          <a:p>
            <a:pPr marL="285750"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Busting credit myths</a:t>
            </a:r>
          </a:p>
          <a:p>
            <a:pPr marL="285750" indent="-285750">
              <a:buFont typeface="Arial" panose="020B0604020202020204" pitchFamily="34" charset="0"/>
              <a:buChar char="•"/>
            </a:pPr>
            <a:endParaRPr lang="en-US" sz="2800" dirty="0">
              <a:solidFill>
                <a:srgbClr val="FFFFFF"/>
              </a:solidFill>
              <a:latin typeface="Century Gothic" panose="020B0502020202020204" pitchFamily="34" charset="0"/>
            </a:endParaRPr>
          </a:p>
          <a:p>
            <a:pPr marL="285750" indent="-285750">
              <a:buFont typeface="Arial" panose="020B0604020202020204" pitchFamily="34" charset="0"/>
              <a:buChar char="•"/>
            </a:pPr>
            <a:r>
              <a:rPr lang="en-US" sz="2800" dirty="0">
                <a:solidFill>
                  <a:srgbClr val="FFFFFF"/>
                </a:solidFill>
                <a:latin typeface="Century Gothic" panose="020B0502020202020204" pitchFamily="34" charset="0"/>
              </a:rPr>
              <a:t>Healthy credit habits &amp; tips</a:t>
            </a:r>
          </a:p>
        </p:txBody>
      </p:sp>
    </p:spTree>
    <p:extLst>
      <p:ext uri="{BB962C8B-B14F-4D97-AF65-F5344CB8AC3E}">
        <p14:creationId xmlns:p14="http://schemas.microsoft.com/office/powerpoint/2010/main" val="31150339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Basics of Credit</a:t>
            </a:r>
          </a:p>
        </p:txBody>
      </p:sp>
      <p:sp>
        <p:nvSpPr>
          <p:cNvPr id="5" name="TextBox 4">
            <a:extLst>
              <a:ext uri="{FF2B5EF4-FFF2-40B4-BE49-F238E27FC236}">
                <a16:creationId xmlns:a16="http://schemas.microsoft.com/office/drawing/2014/main" id="{C1AA8157-E291-D9CF-0095-2032004B0650}"/>
              </a:ext>
            </a:extLst>
          </p:cNvPr>
          <p:cNvSpPr txBox="1"/>
          <p:nvPr/>
        </p:nvSpPr>
        <p:spPr>
          <a:xfrm>
            <a:off x="3048000" y="1823357"/>
            <a:ext cx="6953250" cy="1815882"/>
          </a:xfrm>
          <a:prstGeom prst="rect">
            <a:avLst/>
          </a:prstGeom>
          <a:noFill/>
        </p:spPr>
        <p:txBody>
          <a:bodyPr wrap="square" rtlCol="0">
            <a:spAutoFit/>
          </a:bodyPr>
          <a:lstStyle/>
          <a:p>
            <a:pPr marL="285750" indent="-285750">
              <a:buFont typeface="Arial" panose="020B0604020202020204" pitchFamily="34" charset="0"/>
              <a:buChar char="•"/>
            </a:pPr>
            <a:r>
              <a:rPr lang="en-US" sz="2800" b="1" dirty="0">
                <a:solidFill>
                  <a:srgbClr val="FFFFFF"/>
                </a:solidFill>
                <a:latin typeface="Century Gothic" panose="020B0502020202020204" pitchFamily="34" charset="0"/>
              </a:rPr>
              <a:t>CREDIT: </a:t>
            </a:r>
            <a:r>
              <a:rPr lang="en-US" sz="2800" dirty="0">
                <a:solidFill>
                  <a:srgbClr val="FFFFFF"/>
                </a:solidFill>
                <a:latin typeface="Century Gothic" panose="020B0502020202020204" pitchFamily="34" charset="0"/>
              </a:rPr>
              <a:t>an agreement wherein someone receives goods or services now with the understanding they will pay the creditor back later. </a:t>
            </a:r>
          </a:p>
        </p:txBody>
      </p:sp>
    </p:spTree>
    <p:extLst>
      <p:ext uri="{BB962C8B-B14F-4D97-AF65-F5344CB8AC3E}">
        <p14:creationId xmlns:p14="http://schemas.microsoft.com/office/powerpoint/2010/main" val="14909033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Basics of Credit</a:t>
            </a:r>
          </a:p>
        </p:txBody>
      </p:sp>
      <p:sp>
        <p:nvSpPr>
          <p:cNvPr id="5" name="TextBox 4">
            <a:extLst>
              <a:ext uri="{FF2B5EF4-FFF2-40B4-BE49-F238E27FC236}">
                <a16:creationId xmlns:a16="http://schemas.microsoft.com/office/drawing/2014/main" id="{C1AA8157-E291-D9CF-0095-2032004B0650}"/>
              </a:ext>
            </a:extLst>
          </p:cNvPr>
          <p:cNvSpPr txBox="1"/>
          <p:nvPr/>
        </p:nvSpPr>
        <p:spPr>
          <a:xfrm>
            <a:off x="3048000" y="1823357"/>
            <a:ext cx="6953250" cy="2246769"/>
          </a:xfrm>
          <a:prstGeom prst="rect">
            <a:avLst/>
          </a:prstGeom>
          <a:noFill/>
        </p:spPr>
        <p:txBody>
          <a:bodyPr wrap="square" rtlCol="0">
            <a:spAutoFit/>
          </a:bodyPr>
          <a:lstStyle/>
          <a:p>
            <a:pPr marL="285750" indent="-285750">
              <a:buFont typeface="Arial" panose="020B0604020202020204" pitchFamily="34" charset="0"/>
              <a:buChar char="•"/>
            </a:pPr>
            <a:r>
              <a:rPr kumimoji="0" lang="en-US" sz="2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CREDIT REPORT</a:t>
            </a:r>
            <a:r>
              <a:rPr kumimoji="0" lang="en-US" sz="28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 a statement that has information about your credit history and current credit activity, showing details of how you are and have handled credit accounts.</a:t>
            </a:r>
            <a:endParaRPr lang="en-US" sz="2800" dirty="0">
              <a:solidFill>
                <a:srgbClr val="FFFFFF"/>
              </a:solidFill>
              <a:latin typeface="Century Gothic" panose="020B0502020202020204" pitchFamily="34" charset="0"/>
            </a:endParaRPr>
          </a:p>
        </p:txBody>
      </p:sp>
    </p:spTree>
    <p:extLst>
      <p:ext uri="{BB962C8B-B14F-4D97-AF65-F5344CB8AC3E}">
        <p14:creationId xmlns:p14="http://schemas.microsoft.com/office/powerpoint/2010/main" val="243901740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Basics of Credit</a:t>
            </a:r>
          </a:p>
        </p:txBody>
      </p:sp>
      <p:sp>
        <p:nvSpPr>
          <p:cNvPr id="5" name="TextBox 4">
            <a:extLst>
              <a:ext uri="{FF2B5EF4-FFF2-40B4-BE49-F238E27FC236}">
                <a16:creationId xmlns:a16="http://schemas.microsoft.com/office/drawing/2014/main" id="{C1AA8157-E291-D9CF-0095-2032004B0650}"/>
              </a:ext>
            </a:extLst>
          </p:cNvPr>
          <p:cNvSpPr txBox="1"/>
          <p:nvPr/>
        </p:nvSpPr>
        <p:spPr>
          <a:xfrm>
            <a:off x="3048000" y="1823357"/>
            <a:ext cx="6953250" cy="954107"/>
          </a:xfrm>
          <a:prstGeom prst="rect">
            <a:avLst/>
          </a:prstGeom>
          <a:noFill/>
        </p:spPr>
        <p:txBody>
          <a:bodyPr wrap="square" rtlCol="0">
            <a:spAutoFit/>
          </a:bodyPr>
          <a:lstStyle/>
          <a:p>
            <a:pPr marL="285750" indent="-285750">
              <a:buFont typeface="Arial" panose="020B0604020202020204" pitchFamily="34" charset="0"/>
              <a:buChar char="•"/>
            </a:pPr>
            <a:r>
              <a:rPr kumimoji="0" lang="en-US" sz="2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CREDIT REPORT</a:t>
            </a:r>
            <a:r>
              <a:rPr kumimoji="0" lang="en-US" sz="28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 there are 3 credit bureaus that generate credit reports</a:t>
            </a:r>
            <a:endParaRPr lang="en-US" sz="2800" dirty="0">
              <a:solidFill>
                <a:srgbClr val="FFFFFF"/>
              </a:solidFill>
              <a:latin typeface="Century Gothic" panose="020B0502020202020204" pitchFamily="34" charset="0"/>
            </a:endParaRPr>
          </a:p>
        </p:txBody>
      </p:sp>
      <p:grpSp>
        <p:nvGrpSpPr>
          <p:cNvPr id="3" name="Group 2">
            <a:extLst>
              <a:ext uri="{FF2B5EF4-FFF2-40B4-BE49-F238E27FC236}">
                <a16:creationId xmlns:a16="http://schemas.microsoft.com/office/drawing/2014/main" id="{38972838-007D-A64E-F1C9-77C877472DFC}"/>
              </a:ext>
            </a:extLst>
          </p:cNvPr>
          <p:cNvGrpSpPr/>
          <p:nvPr/>
        </p:nvGrpSpPr>
        <p:grpSpPr>
          <a:xfrm>
            <a:off x="975469" y="3429000"/>
            <a:ext cx="10241062" cy="2175572"/>
            <a:chOff x="892030" y="3393570"/>
            <a:chExt cx="10241062" cy="2175572"/>
          </a:xfrm>
        </p:grpSpPr>
        <p:pic>
          <p:nvPicPr>
            <p:cNvPr id="17" name="Picture 16" descr="Logo, company name&#10;&#10;Description automatically generated">
              <a:extLst>
                <a:ext uri="{FF2B5EF4-FFF2-40B4-BE49-F238E27FC236}">
                  <a16:creationId xmlns:a16="http://schemas.microsoft.com/office/drawing/2014/main" id="{1DBC450B-A5A1-1B16-8B47-D581CD8F71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2030" y="3429000"/>
              <a:ext cx="3442226" cy="1147409"/>
            </a:xfrm>
            <a:prstGeom prst="rect">
              <a:avLst/>
            </a:prstGeom>
          </p:spPr>
        </p:pic>
        <p:pic>
          <p:nvPicPr>
            <p:cNvPr id="19" name="Picture 18" descr="A close up of a logo&#10;&#10;Description automatically generated with low confidence">
              <a:extLst>
                <a:ext uri="{FF2B5EF4-FFF2-40B4-BE49-F238E27FC236}">
                  <a16:creationId xmlns:a16="http://schemas.microsoft.com/office/drawing/2014/main" id="{01E053E6-793E-C625-06CD-F948FCF1E49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34256" y="4886747"/>
              <a:ext cx="3442226" cy="682395"/>
            </a:xfrm>
            <a:prstGeom prst="rect">
              <a:avLst/>
            </a:prstGeom>
          </p:spPr>
        </p:pic>
        <p:pic>
          <p:nvPicPr>
            <p:cNvPr id="21" name="Picture 20" descr="A picture containing text, clipart&#10;&#10;Description automatically generated">
              <a:extLst>
                <a:ext uri="{FF2B5EF4-FFF2-40B4-BE49-F238E27FC236}">
                  <a16:creationId xmlns:a16="http://schemas.microsoft.com/office/drawing/2014/main" id="{B3D6A3EC-FE6E-E858-6DAB-A35A939E3C8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76482" y="3393570"/>
              <a:ext cx="3356610" cy="877071"/>
            </a:xfrm>
            <a:prstGeom prst="rect">
              <a:avLst/>
            </a:prstGeom>
          </p:spPr>
        </p:pic>
      </p:grpSp>
    </p:spTree>
    <p:extLst>
      <p:ext uri="{BB962C8B-B14F-4D97-AF65-F5344CB8AC3E}">
        <p14:creationId xmlns:p14="http://schemas.microsoft.com/office/powerpoint/2010/main" val="15816532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Basics of Credit</a:t>
            </a:r>
          </a:p>
        </p:txBody>
      </p:sp>
      <p:sp>
        <p:nvSpPr>
          <p:cNvPr id="5" name="TextBox 4">
            <a:extLst>
              <a:ext uri="{FF2B5EF4-FFF2-40B4-BE49-F238E27FC236}">
                <a16:creationId xmlns:a16="http://schemas.microsoft.com/office/drawing/2014/main" id="{C1AA8157-E291-D9CF-0095-2032004B0650}"/>
              </a:ext>
            </a:extLst>
          </p:cNvPr>
          <p:cNvSpPr txBox="1"/>
          <p:nvPr/>
        </p:nvSpPr>
        <p:spPr>
          <a:xfrm>
            <a:off x="3048000" y="1823357"/>
            <a:ext cx="6953250" cy="1815882"/>
          </a:xfrm>
          <a:prstGeom prst="rect">
            <a:avLst/>
          </a:prstGeom>
          <a:noFill/>
        </p:spPr>
        <p:txBody>
          <a:bodyPr wrap="square" rtlCol="0">
            <a:spAutoFit/>
          </a:bodyPr>
          <a:lstStyle/>
          <a:p>
            <a:pPr marL="285750" indent="-285750">
              <a:buFont typeface="Arial" panose="020B0604020202020204" pitchFamily="34" charset="0"/>
              <a:buChar char="•"/>
            </a:pPr>
            <a:r>
              <a:rPr kumimoji="0" lang="en-US" sz="2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CREDIT REPORT</a:t>
            </a:r>
            <a:r>
              <a:rPr kumimoji="0" lang="en-US" sz="28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a:t>
            </a:r>
          </a:p>
          <a:p>
            <a:pPr marL="742950" lvl="1"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Three credit bureaus</a:t>
            </a:r>
          </a:p>
          <a:p>
            <a:pPr marL="742950" lvl="1" indent="-285750">
              <a:buFont typeface="Arial" panose="020B0604020202020204" pitchFamily="34" charset="0"/>
              <a:buChar char="•"/>
            </a:pPr>
            <a:r>
              <a:rPr lang="en-US" sz="2800" dirty="0">
                <a:solidFill>
                  <a:srgbClr val="FFFFFF"/>
                </a:solidFill>
                <a:latin typeface="Century Gothic" panose="020B0502020202020204" pitchFamily="34" charset="0"/>
              </a:rPr>
              <a:t>Can be accessed for free at: </a:t>
            </a:r>
            <a:r>
              <a:rPr lang="en-US" sz="2800" b="1" u="sng" dirty="0">
                <a:solidFill>
                  <a:srgbClr val="FFFFFF"/>
                </a:solidFill>
                <a:latin typeface="Century Gothic" panose="020B0502020202020204" pitchFamily="34" charset="0"/>
              </a:rPr>
              <a:t>AnnualCreditReport.com</a:t>
            </a:r>
          </a:p>
        </p:txBody>
      </p:sp>
      <p:pic>
        <p:nvPicPr>
          <p:cNvPr id="8" name="Picture 7">
            <a:extLst>
              <a:ext uri="{FF2B5EF4-FFF2-40B4-BE49-F238E27FC236}">
                <a16:creationId xmlns:a16="http://schemas.microsoft.com/office/drawing/2014/main" id="{22A48722-1E6B-ECB0-04EF-642B133DDD2F}"/>
              </a:ext>
            </a:extLst>
          </p:cNvPr>
          <p:cNvPicPr>
            <a:picLocks noChangeAspect="1"/>
          </p:cNvPicPr>
          <p:nvPr/>
        </p:nvPicPr>
        <p:blipFill rotWithShape="1">
          <a:blip r:embed="rId3">
            <a:extLst>
              <a:ext uri="{28A0092B-C50C-407E-A947-70E740481C1C}">
                <a14:useLocalDpi xmlns:a14="http://schemas.microsoft.com/office/drawing/2010/main" val="0"/>
              </a:ext>
            </a:extLst>
          </a:blip>
          <a:srcRect t="4460" b="4460"/>
          <a:stretch/>
        </p:blipFill>
        <p:spPr>
          <a:xfrm>
            <a:off x="1650990" y="3942770"/>
            <a:ext cx="8890020" cy="2915230"/>
          </a:xfrm>
          <a:prstGeom prst="rect">
            <a:avLst/>
          </a:prstGeom>
        </p:spPr>
      </p:pic>
    </p:spTree>
    <p:extLst>
      <p:ext uri="{BB962C8B-B14F-4D97-AF65-F5344CB8AC3E}">
        <p14:creationId xmlns:p14="http://schemas.microsoft.com/office/powerpoint/2010/main" val="241359547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Basics of Credit</a:t>
            </a:r>
          </a:p>
        </p:txBody>
      </p:sp>
      <p:sp>
        <p:nvSpPr>
          <p:cNvPr id="5" name="TextBox 4">
            <a:extLst>
              <a:ext uri="{FF2B5EF4-FFF2-40B4-BE49-F238E27FC236}">
                <a16:creationId xmlns:a16="http://schemas.microsoft.com/office/drawing/2014/main" id="{C1AA8157-E291-D9CF-0095-2032004B0650}"/>
              </a:ext>
            </a:extLst>
          </p:cNvPr>
          <p:cNvSpPr txBox="1"/>
          <p:nvPr/>
        </p:nvSpPr>
        <p:spPr>
          <a:xfrm>
            <a:off x="3048000" y="1823357"/>
            <a:ext cx="7970520" cy="4401205"/>
          </a:xfrm>
          <a:prstGeom prst="rect">
            <a:avLst/>
          </a:prstGeom>
          <a:noFill/>
        </p:spPr>
        <p:txBody>
          <a:bodyPr wrap="square" rtlCol="0">
            <a:spAutoFit/>
          </a:bodyPr>
          <a:lstStyle/>
          <a:p>
            <a:pPr marL="285750" indent="-285750">
              <a:buFont typeface="Arial" panose="020B0604020202020204" pitchFamily="34" charset="0"/>
              <a:buChar char="•"/>
            </a:pPr>
            <a:r>
              <a:rPr kumimoji="0" lang="en-US" sz="2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CREDIT REPORT</a:t>
            </a:r>
            <a:r>
              <a:rPr kumimoji="0" lang="en-US" sz="28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a:t>
            </a:r>
          </a:p>
          <a:p>
            <a:pPr marL="742950" lvl="1"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Three credit bureaus</a:t>
            </a:r>
          </a:p>
          <a:p>
            <a:pPr marL="742950" lvl="1"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Can be accessed for free at: </a:t>
            </a:r>
            <a:r>
              <a:rPr lang="en-US" sz="2800" b="1" u="sng" dirty="0">
                <a:solidFill>
                  <a:srgbClr val="FFFFFF">
                    <a:alpha val="30000"/>
                  </a:srgbClr>
                </a:solidFill>
                <a:latin typeface="Century Gothic" panose="020B0502020202020204" pitchFamily="34" charset="0"/>
              </a:rPr>
              <a:t>AnnualCreditReport.com</a:t>
            </a:r>
          </a:p>
          <a:p>
            <a:pPr marL="742950" lvl="1" indent="-285750">
              <a:buFont typeface="Arial" panose="020B0604020202020204" pitchFamily="34" charset="0"/>
              <a:buChar char="•"/>
            </a:pPr>
            <a:r>
              <a:rPr lang="en-US" sz="2800" dirty="0">
                <a:solidFill>
                  <a:srgbClr val="FFFFFF"/>
                </a:solidFill>
                <a:latin typeface="Century Gothic" panose="020B0502020202020204" pitchFamily="34" charset="0"/>
              </a:rPr>
              <a:t>Includes: </a:t>
            </a:r>
          </a:p>
          <a:p>
            <a:pPr marL="1200150" lvl="2" indent="-285750">
              <a:buFont typeface="Arial" panose="020B0604020202020204" pitchFamily="34" charset="0"/>
              <a:buChar char="•"/>
            </a:pPr>
            <a:r>
              <a:rPr lang="en-US" sz="2800" dirty="0">
                <a:solidFill>
                  <a:srgbClr val="FFFFFF"/>
                </a:solidFill>
                <a:latin typeface="Century Gothic" panose="020B0502020202020204" pitchFamily="34" charset="0"/>
              </a:rPr>
              <a:t>Your identifying information</a:t>
            </a:r>
          </a:p>
          <a:p>
            <a:pPr marL="1200150" lvl="2" indent="-285750">
              <a:buFont typeface="Arial" panose="020B0604020202020204" pitchFamily="34" charset="0"/>
              <a:buChar char="•"/>
            </a:pPr>
            <a:r>
              <a:rPr lang="en-US" sz="2800" dirty="0">
                <a:solidFill>
                  <a:srgbClr val="FFFFFF"/>
                </a:solidFill>
                <a:latin typeface="Century Gothic" panose="020B0502020202020204" pitchFamily="34" charset="0"/>
              </a:rPr>
              <a:t>Credit &amp; Account history/info</a:t>
            </a:r>
          </a:p>
          <a:p>
            <a:pPr marL="1200150" lvl="2" indent="-285750">
              <a:buFont typeface="Arial" panose="020B0604020202020204" pitchFamily="34" charset="0"/>
              <a:buChar char="•"/>
            </a:pPr>
            <a:r>
              <a:rPr lang="en-US" sz="2800" dirty="0">
                <a:solidFill>
                  <a:srgbClr val="FFFFFF"/>
                </a:solidFill>
                <a:latin typeface="Century Gothic" panose="020B0502020202020204" pitchFamily="34" charset="0"/>
              </a:rPr>
              <a:t>Bankruptcies &amp; collection accounts</a:t>
            </a:r>
          </a:p>
          <a:p>
            <a:pPr marL="1200150" lvl="2" indent="-285750">
              <a:buFont typeface="Arial" panose="020B0604020202020204" pitchFamily="34" charset="0"/>
              <a:buChar char="•"/>
            </a:pPr>
            <a:r>
              <a:rPr lang="en-US" sz="2800" dirty="0">
                <a:solidFill>
                  <a:srgbClr val="FFFFFF"/>
                </a:solidFill>
                <a:latin typeface="Century Gothic" panose="020B0502020202020204" pitchFamily="34" charset="0"/>
              </a:rPr>
              <a:t>Who has accessed your credit report (inquiries)</a:t>
            </a:r>
          </a:p>
        </p:txBody>
      </p:sp>
    </p:spTree>
    <p:extLst>
      <p:ext uri="{BB962C8B-B14F-4D97-AF65-F5344CB8AC3E}">
        <p14:creationId xmlns:p14="http://schemas.microsoft.com/office/powerpoint/2010/main" val="34313713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Basics of Credit</a:t>
            </a:r>
          </a:p>
        </p:txBody>
      </p:sp>
      <p:sp>
        <p:nvSpPr>
          <p:cNvPr id="5" name="TextBox 4">
            <a:extLst>
              <a:ext uri="{FF2B5EF4-FFF2-40B4-BE49-F238E27FC236}">
                <a16:creationId xmlns:a16="http://schemas.microsoft.com/office/drawing/2014/main" id="{C1AA8157-E291-D9CF-0095-2032004B0650}"/>
              </a:ext>
            </a:extLst>
          </p:cNvPr>
          <p:cNvSpPr txBox="1"/>
          <p:nvPr/>
        </p:nvSpPr>
        <p:spPr>
          <a:xfrm>
            <a:off x="3048000" y="1823357"/>
            <a:ext cx="6953250" cy="2246769"/>
          </a:xfrm>
          <a:prstGeom prst="rect">
            <a:avLst/>
          </a:prstGeom>
          <a:noFill/>
        </p:spPr>
        <p:txBody>
          <a:bodyPr wrap="square" rtlCol="0">
            <a:spAutoFit/>
          </a:bodyPr>
          <a:lstStyle/>
          <a:p>
            <a:pPr marL="285750" indent="-285750">
              <a:buFont typeface="Arial" panose="020B0604020202020204" pitchFamily="34" charset="0"/>
              <a:buChar char="•"/>
            </a:pPr>
            <a:r>
              <a:rPr kumimoji="0" lang="en-US" sz="2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CREDIT SCORE</a:t>
            </a:r>
            <a:r>
              <a:rPr kumimoji="0" lang="en-US" sz="28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 a three-digit number that uses information from your credit report to predict how likely you are to pay back as agreed credit that may be extended to you.</a:t>
            </a:r>
            <a:endParaRPr lang="en-US" sz="2800" dirty="0">
              <a:solidFill>
                <a:srgbClr val="FFFFFF"/>
              </a:solidFill>
              <a:latin typeface="Century Gothic" panose="020B0502020202020204" pitchFamily="34" charset="0"/>
            </a:endParaRPr>
          </a:p>
        </p:txBody>
      </p:sp>
    </p:spTree>
    <p:extLst>
      <p:ext uri="{BB962C8B-B14F-4D97-AF65-F5344CB8AC3E}">
        <p14:creationId xmlns:p14="http://schemas.microsoft.com/office/powerpoint/2010/main" val="42302283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03282308-968D-984F-8466-3EB6FFBF78E0}"/>
              </a:ext>
            </a:extLst>
          </p:cNvPr>
          <p:cNvSpPr>
            <a:spLocks noGrp="1"/>
          </p:cNvSpPr>
          <p:nvPr>
            <p:ph type="body" sz="quarter" idx="12"/>
          </p:nvPr>
        </p:nvSpPr>
        <p:spPr>
          <a:xfrm>
            <a:off x="5772332" y="272815"/>
            <a:ext cx="4505524" cy="865117"/>
          </a:xfrm>
        </p:spPr>
        <p:txBody>
          <a:bodyPr lIns="91440">
            <a:noAutofit/>
          </a:bodyPr>
          <a:lstStyle/>
          <a:p>
            <a:r>
              <a:rPr lang="en-US" sz="4800" dirty="0"/>
              <a:t>Today’s </a:t>
            </a:r>
            <a:r>
              <a:rPr lang="en-US" dirty="0">
                <a:solidFill>
                  <a:srgbClr val="8C2332"/>
                </a:solidFill>
              </a:rPr>
              <a:t>Webinar</a:t>
            </a:r>
          </a:p>
        </p:txBody>
      </p:sp>
      <p:grpSp>
        <p:nvGrpSpPr>
          <p:cNvPr id="2" name="Group 1">
            <a:extLst>
              <a:ext uri="{FF2B5EF4-FFF2-40B4-BE49-F238E27FC236}">
                <a16:creationId xmlns:a16="http://schemas.microsoft.com/office/drawing/2014/main" id="{8A74D73C-0C6B-424F-8C62-508C32254269}"/>
              </a:ext>
            </a:extLst>
          </p:cNvPr>
          <p:cNvGrpSpPr/>
          <p:nvPr/>
        </p:nvGrpSpPr>
        <p:grpSpPr>
          <a:xfrm>
            <a:off x="5864058" y="1865028"/>
            <a:ext cx="5398292" cy="740539"/>
            <a:chOff x="6924762" y="667870"/>
            <a:chExt cx="5398292" cy="740539"/>
          </a:xfrm>
        </p:grpSpPr>
        <p:sp>
          <p:nvSpPr>
            <p:cNvPr id="39" name="Text Placeholder 10">
              <a:extLst>
                <a:ext uri="{FF2B5EF4-FFF2-40B4-BE49-F238E27FC236}">
                  <a16:creationId xmlns:a16="http://schemas.microsoft.com/office/drawing/2014/main" id="{AFE82D45-654E-4274-8E5F-DCA4905D6339}"/>
                </a:ext>
              </a:extLst>
            </p:cNvPr>
            <p:cNvSpPr txBox="1">
              <a:spLocks/>
            </p:cNvSpPr>
            <p:nvPr/>
          </p:nvSpPr>
          <p:spPr>
            <a:xfrm>
              <a:off x="6924763" y="1051579"/>
              <a:ext cx="5398291" cy="356830"/>
            </a:xfrm>
            <a:prstGeom prst="rect">
              <a:avLst/>
            </a:prstGeom>
          </p:spPr>
          <p:txBody>
            <a:bodyPr lIns="91440" tIns="45720" rIns="91440" bIns="45720" anchor="t"/>
            <a:lstStyle>
              <a:lvl1pPr marL="0" indent="0" algn="l" defTabSz="914377" rtl="0" eaLnBrk="1" latinLnBrk="0" hangingPunct="1">
                <a:lnSpc>
                  <a:spcPct val="150000"/>
                </a:lnSpc>
                <a:spcBef>
                  <a:spcPts val="1000"/>
                </a:spcBef>
                <a:buFont typeface="Arial" panose="020B0604020202020204" pitchFamily="34" charset="0"/>
                <a:buNone/>
                <a:defRPr sz="1200" b="0" i="0" kern="120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25000"/>
                </a:lnSpc>
                <a:spcBef>
                  <a:spcPts val="1000"/>
                </a:spcBef>
                <a:spcAft>
                  <a:spcPts val="0"/>
                </a:spcAft>
                <a:buClrTx/>
                <a:buSzTx/>
                <a:buFont typeface="Arial" panose="020B0604020202020204" pitchFamily="34" charset="0"/>
                <a:buNone/>
                <a:tabLst/>
                <a:defRPr/>
              </a:pPr>
              <a:r>
                <a:rPr kumimoji="0" lang="en-US" sz="1500" b="0" i="0" u="none" strike="noStrike" kern="1200" cap="none" spc="0" normalizeH="0" baseline="0" noProof="0" dirty="0">
                  <a:ln>
                    <a:noFill/>
                  </a:ln>
                  <a:solidFill>
                    <a:srgbClr val="44546A">
                      <a:lumMod val="75000"/>
                    </a:srgbClr>
                  </a:solidFill>
                  <a:effectLst/>
                  <a:uLnTx/>
                  <a:uFillTx/>
                  <a:latin typeface="Klinic Slab Book"/>
                  <a:ea typeface="Open Sans"/>
                  <a:cs typeface="Open Sans"/>
                </a:rPr>
                <a:t>We will ask our presenter to answer the questions submitted before the webinar first, then turn to new questions.</a:t>
              </a:r>
              <a:endParaRPr kumimoji="0" lang="en-US" sz="1200" b="0" i="0" u="none" strike="noStrike" kern="1200" cap="none" spc="0" normalizeH="0" baseline="0" noProof="0" dirty="0">
                <a:ln>
                  <a:noFill/>
                </a:ln>
                <a:solidFill>
                  <a:srgbClr val="44546A">
                    <a:lumMod val="75000"/>
                  </a:srgbClr>
                </a:solidFill>
                <a:effectLst/>
                <a:uLnTx/>
                <a:uFillTx/>
                <a:latin typeface="Klinic Slab Book" pitchFamily="50" charset="0"/>
                <a:ea typeface="Open Sans" panose="020B0606030504020204" pitchFamily="34" charset="0"/>
                <a:cs typeface="Open Sans" panose="020B0606030504020204" pitchFamily="34" charset="0"/>
              </a:endParaRPr>
            </a:p>
          </p:txBody>
        </p:sp>
        <p:sp>
          <p:nvSpPr>
            <p:cNvPr id="40" name="Text Placeholder 11">
              <a:extLst>
                <a:ext uri="{FF2B5EF4-FFF2-40B4-BE49-F238E27FC236}">
                  <a16:creationId xmlns:a16="http://schemas.microsoft.com/office/drawing/2014/main" id="{F2A9690A-A926-40FC-89FB-7E16B54FDA16}"/>
                </a:ext>
              </a:extLst>
            </p:cNvPr>
            <p:cNvSpPr txBox="1">
              <a:spLocks/>
            </p:cNvSpPr>
            <p:nvPr/>
          </p:nvSpPr>
          <p:spPr>
            <a:xfrm>
              <a:off x="6924762" y="667870"/>
              <a:ext cx="3667767" cy="347132"/>
            </a:xfrm>
            <a:prstGeom prst="rect">
              <a:avLst/>
            </a:prstGeom>
          </p:spPr>
          <p:txBody>
            <a:bodyPr/>
            <a:lstStyle>
              <a:lvl1pPr marL="0" indent="0" algn="l" defTabSz="914377" rtl="0" eaLnBrk="1" latinLnBrk="0" hangingPunct="1">
                <a:lnSpc>
                  <a:spcPct val="100000"/>
                </a:lnSpc>
                <a:spcBef>
                  <a:spcPts val="1000"/>
                </a:spcBef>
                <a:buFont typeface="Arial" panose="020B0604020202020204" pitchFamily="34" charset="0"/>
                <a:buNone/>
                <a:defRPr sz="1600" b="1" i="0" kern="120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prstClr val="black"/>
                  </a:solidFill>
                  <a:effectLst/>
                  <a:uLnTx/>
                  <a:uFillTx/>
                  <a:latin typeface="Gilroy Bold" panose="00000800000000000000" pitchFamily="50" charset="0"/>
                  <a:ea typeface="Open Sans" panose="020B0606030504020204" pitchFamily="34" charset="0"/>
                  <a:cs typeface="Poppins SemiBold" panose="02000000000000000000" pitchFamily="2" charset="77"/>
                </a:rPr>
                <a:t>Format</a:t>
              </a:r>
              <a:endParaRPr kumimoji="0" lang="en-US" sz="2400" b="1" i="0" u="none" strike="noStrike" kern="1200" cap="none" spc="0" normalizeH="0" baseline="0" noProof="0" dirty="0">
                <a:ln>
                  <a:noFill/>
                </a:ln>
                <a:solidFill>
                  <a:srgbClr val="8C2332"/>
                </a:solidFill>
                <a:effectLst/>
                <a:uLnTx/>
                <a:uFillTx/>
                <a:latin typeface="Gilroy Bold" panose="00000800000000000000" pitchFamily="50" charset="0"/>
                <a:ea typeface="Open Sans" panose="020B0606030504020204" pitchFamily="34" charset="0"/>
                <a:cs typeface="Poppins SemiBold" panose="02000000000000000000" pitchFamily="2" charset="77"/>
              </a:endParaRPr>
            </a:p>
          </p:txBody>
        </p:sp>
      </p:grpSp>
      <p:grpSp>
        <p:nvGrpSpPr>
          <p:cNvPr id="3" name="Group 2">
            <a:extLst>
              <a:ext uri="{FF2B5EF4-FFF2-40B4-BE49-F238E27FC236}">
                <a16:creationId xmlns:a16="http://schemas.microsoft.com/office/drawing/2014/main" id="{8B331BA3-3BA9-4122-8AA3-5597FF7C47A1}"/>
              </a:ext>
            </a:extLst>
          </p:cNvPr>
          <p:cNvGrpSpPr/>
          <p:nvPr/>
        </p:nvGrpSpPr>
        <p:grpSpPr>
          <a:xfrm>
            <a:off x="5864058" y="2889964"/>
            <a:ext cx="4806990" cy="722249"/>
            <a:chOff x="6924762" y="2167093"/>
            <a:chExt cx="4806990" cy="722249"/>
          </a:xfrm>
        </p:grpSpPr>
        <p:sp>
          <p:nvSpPr>
            <p:cNvPr id="41" name="Text Placeholder 12">
              <a:extLst>
                <a:ext uri="{FF2B5EF4-FFF2-40B4-BE49-F238E27FC236}">
                  <a16:creationId xmlns:a16="http://schemas.microsoft.com/office/drawing/2014/main" id="{15A6BEEC-BF36-49E5-8AFD-4F220B486EBC}"/>
                </a:ext>
              </a:extLst>
            </p:cNvPr>
            <p:cNvSpPr txBox="1">
              <a:spLocks/>
            </p:cNvSpPr>
            <p:nvPr/>
          </p:nvSpPr>
          <p:spPr>
            <a:xfrm>
              <a:off x="6924764" y="2532513"/>
              <a:ext cx="4806988" cy="356829"/>
            </a:xfrm>
            <a:prstGeom prst="rect">
              <a:avLst/>
            </a:prstGeom>
          </p:spPr>
          <p:txBody>
            <a:bodyPr wrap="square">
              <a:spAutoFit/>
            </a:bodyPr>
            <a:lstStyle>
              <a:lvl1pPr marL="0" indent="0" algn="l" defTabSz="914377" rtl="0" eaLnBrk="1" latinLnBrk="0" hangingPunct="1">
                <a:lnSpc>
                  <a:spcPct val="150000"/>
                </a:lnSpc>
                <a:spcBef>
                  <a:spcPts val="1000"/>
                </a:spcBef>
                <a:buFont typeface="Arial" panose="020B0604020202020204" pitchFamily="34" charset="0"/>
                <a:buNone/>
                <a:defRPr sz="1200" b="0" i="0" kern="120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25000"/>
                </a:lnSpc>
                <a:spcBef>
                  <a:spcPts val="1000"/>
                </a:spcBef>
                <a:spcAft>
                  <a:spcPts val="0"/>
                </a:spcAft>
                <a:buClrTx/>
                <a:buSzTx/>
                <a:buFont typeface="Arial" panose="020B0604020202020204" pitchFamily="34" charset="0"/>
                <a:buNone/>
                <a:tabLst/>
                <a:defRPr/>
              </a:pPr>
              <a:r>
                <a:rPr kumimoji="0" lang="en-US" sz="1500" b="0" i="0" u="none" strike="noStrike" kern="1200" cap="none" spc="0" normalizeH="0" baseline="0" noProof="0">
                  <a:ln>
                    <a:noFill/>
                  </a:ln>
                  <a:solidFill>
                    <a:srgbClr val="44546A">
                      <a:lumMod val="75000"/>
                    </a:srgbClr>
                  </a:solidFill>
                  <a:effectLst/>
                  <a:uLnTx/>
                  <a:uFillTx/>
                  <a:latin typeface="Klinic Slab Book" pitchFamily="50" charset="0"/>
                  <a:ea typeface="Open Sans" panose="020B0606030504020204" pitchFamily="34" charset="0"/>
                  <a:cs typeface="Open Sans" panose="020B0606030504020204" pitchFamily="34" charset="0"/>
                </a:rPr>
                <a:t>Make sure you are in a quiet place without distractions.</a:t>
              </a:r>
            </a:p>
          </p:txBody>
        </p:sp>
        <p:sp>
          <p:nvSpPr>
            <p:cNvPr id="42" name="Text Placeholder 13">
              <a:extLst>
                <a:ext uri="{FF2B5EF4-FFF2-40B4-BE49-F238E27FC236}">
                  <a16:creationId xmlns:a16="http://schemas.microsoft.com/office/drawing/2014/main" id="{6B9E3C38-0DC5-4001-A800-87CF5B4A9B67}"/>
                </a:ext>
              </a:extLst>
            </p:cNvPr>
            <p:cNvSpPr txBox="1">
              <a:spLocks/>
            </p:cNvSpPr>
            <p:nvPr/>
          </p:nvSpPr>
          <p:spPr>
            <a:xfrm>
              <a:off x="6924762" y="2167093"/>
              <a:ext cx="4413798" cy="347132"/>
            </a:xfrm>
            <a:prstGeom prst="rect">
              <a:avLst/>
            </a:prstGeom>
          </p:spPr>
          <p:txBody>
            <a:bodyPr lIns="91440" tIns="45720" rIns="91440" bIns="45720" anchor="t"/>
            <a:lstStyle>
              <a:lvl1pPr marL="0" indent="0" algn="l" defTabSz="914377" rtl="0" eaLnBrk="1" latinLnBrk="0" hangingPunct="1">
                <a:lnSpc>
                  <a:spcPct val="100000"/>
                </a:lnSpc>
                <a:spcBef>
                  <a:spcPts val="1000"/>
                </a:spcBef>
                <a:buFont typeface="Arial" panose="020B0604020202020204" pitchFamily="34" charset="0"/>
                <a:buNone/>
                <a:defRPr sz="1600" b="1" i="0" kern="120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prstClr val="black"/>
                  </a:solidFill>
                  <a:effectLst/>
                  <a:uLnTx/>
                  <a:uFillTx/>
                  <a:latin typeface="Gilroy Bold"/>
                  <a:ea typeface="Open Sans"/>
                </a:rPr>
                <a:t>Reducing Background </a:t>
              </a:r>
              <a:r>
                <a:rPr kumimoji="0" lang="en-US" sz="2000" b="1" i="0" u="none" strike="noStrike" kern="1200" cap="none" spc="0" normalizeH="0" baseline="0" noProof="0">
                  <a:ln>
                    <a:noFill/>
                  </a:ln>
                  <a:solidFill>
                    <a:srgbClr val="8C2332"/>
                  </a:solidFill>
                  <a:effectLst/>
                  <a:uLnTx/>
                  <a:uFillTx/>
                  <a:latin typeface="Gilroy Bold"/>
                  <a:ea typeface="Open Sans"/>
                </a:rPr>
                <a:t>Noise</a:t>
              </a:r>
            </a:p>
          </p:txBody>
        </p:sp>
      </p:grpSp>
      <p:grpSp>
        <p:nvGrpSpPr>
          <p:cNvPr id="4" name="Group 3">
            <a:extLst>
              <a:ext uri="{FF2B5EF4-FFF2-40B4-BE49-F238E27FC236}">
                <a16:creationId xmlns:a16="http://schemas.microsoft.com/office/drawing/2014/main" id="{A33EFC7F-8568-413A-ACCB-BEEC5F0E8B84}"/>
              </a:ext>
            </a:extLst>
          </p:cNvPr>
          <p:cNvGrpSpPr/>
          <p:nvPr/>
        </p:nvGrpSpPr>
        <p:grpSpPr>
          <a:xfrm>
            <a:off x="5864060" y="3924042"/>
            <a:ext cx="4912186" cy="758282"/>
            <a:chOff x="6924764" y="3676220"/>
            <a:chExt cx="4912186" cy="758282"/>
          </a:xfrm>
        </p:grpSpPr>
        <p:sp>
          <p:nvSpPr>
            <p:cNvPr id="43" name="Text Placeholder 12">
              <a:extLst>
                <a:ext uri="{FF2B5EF4-FFF2-40B4-BE49-F238E27FC236}">
                  <a16:creationId xmlns:a16="http://schemas.microsoft.com/office/drawing/2014/main" id="{FF3814FA-A054-49DC-B266-F3330F5952E6}"/>
                </a:ext>
              </a:extLst>
            </p:cNvPr>
            <p:cNvSpPr txBox="1">
              <a:spLocks/>
            </p:cNvSpPr>
            <p:nvPr/>
          </p:nvSpPr>
          <p:spPr>
            <a:xfrm>
              <a:off x="6924765" y="3995920"/>
              <a:ext cx="4912185" cy="438582"/>
            </a:xfrm>
            <a:prstGeom prst="rect">
              <a:avLst/>
            </a:prstGeom>
          </p:spPr>
          <p:txBody>
            <a:bodyPr wrap="square" lIns="91440" tIns="45720" rIns="91440" bIns="45720" anchor="t">
              <a:spAutoFit/>
            </a:bodyPr>
            <a:lstStyle>
              <a:lvl1pPr marL="0" indent="0" algn="l" defTabSz="914377" rtl="0" eaLnBrk="1" latinLnBrk="0" hangingPunct="1">
                <a:lnSpc>
                  <a:spcPct val="150000"/>
                </a:lnSpc>
                <a:spcBef>
                  <a:spcPts val="1000"/>
                </a:spcBef>
                <a:buFont typeface="Arial" panose="020B0604020202020204" pitchFamily="34" charset="0"/>
                <a:buNone/>
                <a:defRPr sz="1200" b="0" i="0" kern="120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50000"/>
                </a:lnSpc>
                <a:spcBef>
                  <a:spcPts val="1000"/>
                </a:spcBef>
                <a:spcAft>
                  <a:spcPts val="0"/>
                </a:spcAft>
                <a:buClrTx/>
                <a:buSzTx/>
                <a:buFont typeface="Arial" panose="020B0604020202020204" pitchFamily="34" charset="0"/>
                <a:buNone/>
                <a:tabLst/>
                <a:defRPr/>
              </a:pPr>
              <a:r>
                <a:rPr kumimoji="0" lang="en-US" sz="1500" b="0" i="0" u="none" strike="noStrike" kern="1200" cap="none" spc="0" normalizeH="0" baseline="0" noProof="0" dirty="0">
                  <a:ln>
                    <a:noFill/>
                  </a:ln>
                  <a:solidFill>
                    <a:srgbClr val="44546A">
                      <a:lumMod val="75000"/>
                    </a:srgbClr>
                  </a:solidFill>
                  <a:effectLst/>
                  <a:uLnTx/>
                  <a:uFillTx/>
                  <a:latin typeface="Klinic Slab Book"/>
                  <a:ea typeface="Open Sans"/>
                  <a:cs typeface="Open Sans"/>
                </a:rPr>
                <a:t>If you have a question, use the Q&amp;A feature to let us know.</a:t>
              </a:r>
              <a:endParaRPr kumimoji="0" lang="en-US" sz="1500" b="0" i="0" u="none" strike="noStrike" kern="1200" cap="none" spc="0" normalizeH="0" baseline="0" noProof="0" dirty="0">
                <a:ln>
                  <a:noFill/>
                </a:ln>
                <a:solidFill>
                  <a:srgbClr val="44546A">
                    <a:lumMod val="75000"/>
                  </a:srgbClr>
                </a:solidFill>
                <a:effectLst/>
                <a:uLnTx/>
                <a:uFillTx/>
                <a:latin typeface="Klinic Slab Book" pitchFamily="50" charset="0"/>
                <a:ea typeface="Open Sans" panose="020B0606030504020204" pitchFamily="34" charset="0"/>
                <a:cs typeface="Open Sans" panose="020B0606030504020204" pitchFamily="34" charset="0"/>
              </a:endParaRPr>
            </a:p>
          </p:txBody>
        </p:sp>
        <p:sp>
          <p:nvSpPr>
            <p:cNvPr id="44" name="Text Placeholder 13">
              <a:extLst>
                <a:ext uri="{FF2B5EF4-FFF2-40B4-BE49-F238E27FC236}">
                  <a16:creationId xmlns:a16="http://schemas.microsoft.com/office/drawing/2014/main" id="{AF9A5539-BCE0-4B37-B6AE-AFB376BD9F37}"/>
                </a:ext>
              </a:extLst>
            </p:cNvPr>
            <p:cNvSpPr txBox="1">
              <a:spLocks/>
            </p:cNvSpPr>
            <p:nvPr/>
          </p:nvSpPr>
          <p:spPr>
            <a:xfrm>
              <a:off x="6924764" y="3676220"/>
              <a:ext cx="4550956" cy="400110"/>
            </a:xfrm>
            <a:prstGeom prst="rect">
              <a:avLst/>
            </a:prstGeom>
          </p:spPr>
          <p:txBody>
            <a:bodyPr lIns="91440" tIns="45720" rIns="91440" bIns="45720" anchor="t">
              <a:spAutoFit/>
            </a:bodyPr>
            <a:lstStyle>
              <a:lvl1pPr marL="0" indent="0" algn="l" defTabSz="914377" rtl="0" eaLnBrk="1" latinLnBrk="0" hangingPunct="1">
                <a:lnSpc>
                  <a:spcPct val="100000"/>
                </a:lnSpc>
                <a:spcBef>
                  <a:spcPts val="1000"/>
                </a:spcBef>
                <a:buFont typeface="Arial" panose="020B0604020202020204" pitchFamily="34" charset="0"/>
                <a:buNone/>
                <a:defRPr sz="1600" b="1" i="0" kern="120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a:ln>
                    <a:noFill/>
                  </a:ln>
                  <a:solidFill>
                    <a:prstClr val="black"/>
                  </a:solidFill>
                  <a:effectLst/>
                  <a:uLnTx/>
                  <a:uFillTx/>
                  <a:latin typeface="Gilroy Bold"/>
                  <a:ea typeface="Open Sans"/>
                </a:rPr>
                <a:t>Using the “Questions” </a:t>
              </a:r>
              <a:r>
                <a:rPr kumimoji="0" lang="en-US" sz="2000" b="1" i="0" u="none" strike="noStrike" kern="1200" cap="none" spc="0" normalizeH="0" baseline="0" noProof="0">
                  <a:ln>
                    <a:noFill/>
                  </a:ln>
                  <a:solidFill>
                    <a:srgbClr val="8C2332"/>
                  </a:solidFill>
                  <a:effectLst/>
                  <a:uLnTx/>
                  <a:uFillTx/>
                  <a:latin typeface="Gilroy Bold"/>
                  <a:ea typeface="Open Sans"/>
                </a:rPr>
                <a:t>Feature</a:t>
              </a:r>
            </a:p>
          </p:txBody>
        </p:sp>
      </p:grpSp>
      <p:grpSp>
        <p:nvGrpSpPr>
          <p:cNvPr id="5" name="Group 4">
            <a:extLst>
              <a:ext uri="{FF2B5EF4-FFF2-40B4-BE49-F238E27FC236}">
                <a16:creationId xmlns:a16="http://schemas.microsoft.com/office/drawing/2014/main" id="{C7023A6E-44DA-4F27-9EEA-4FB41E2F0E06}"/>
              </a:ext>
            </a:extLst>
          </p:cNvPr>
          <p:cNvGrpSpPr/>
          <p:nvPr/>
        </p:nvGrpSpPr>
        <p:grpSpPr>
          <a:xfrm>
            <a:off x="5864058" y="5002024"/>
            <a:ext cx="5172746" cy="1047365"/>
            <a:chOff x="6924762" y="4962427"/>
            <a:chExt cx="5172746" cy="1047365"/>
          </a:xfrm>
        </p:grpSpPr>
        <p:sp>
          <p:nvSpPr>
            <p:cNvPr id="45" name="Text Placeholder 12">
              <a:extLst>
                <a:ext uri="{FF2B5EF4-FFF2-40B4-BE49-F238E27FC236}">
                  <a16:creationId xmlns:a16="http://schemas.microsoft.com/office/drawing/2014/main" id="{94ADC2A8-F3B5-4E6A-A302-B2D75181F301}"/>
                </a:ext>
              </a:extLst>
            </p:cNvPr>
            <p:cNvSpPr txBox="1">
              <a:spLocks/>
            </p:cNvSpPr>
            <p:nvPr/>
          </p:nvSpPr>
          <p:spPr>
            <a:xfrm>
              <a:off x="6924763" y="5364423"/>
              <a:ext cx="5172745" cy="645369"/>
            </a:xfrm>
            <a:prstGeom prst="rect">
              <a:avLst/>
            </a:prstGeom>
          </p:spPr>
          <p:txBody>
            <a:bodyPr wrap="square" lIns="91440" tIns="45720" rIns="91440" bIns="45720" anchor="t">
              <a:spAutoFit/>
            </a:bodyPr>
            <a:lstStyle>
              <a:lvl1pPr marL="0" indent="0" algn="l" defTabSz="914377" rtl="0" eaLnBrk="1" latinLnBrk="0" hangingPunct="1">
                <a:lnSpc>
                  <a:spcPct val="150000"/>
                </a:lnSpc>
                <a:spcBef>
                  <a:spcPts val="1000"/>
                </a:spcBef>
                <a:buFont typeface="Arial" panose="020B0604020202020204" pitchFamily="34" charset="0"/>
                <a:buNone/>
                <a:defRPr sz="1200" b="0" i="0" kern="120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25000"/>
                </a:lnSpc>
                <a:spcBef>
                  <a:spcPts val="1000"/>
                </a:spcBef>
                <a:spcAft>
                  <a:spcPts val="0"/>
                </a:spcAft>
                <a:buClrTx/>
                <a:buSzTx/>
                <a:buFont typeface="Arial" panose="020B0604020202020204" pitchFamily="34" charset="0"/>
                <a:buNone/>
                <a:tabLst/>
                <a:defRPr/>
              </a:pPr>
              <a:r>
                <a:rPr kumimoji="0" lang="en-US" sz="1500" b="0" i="0" u="none" strike="noStrike" kern="1200" cap="none" spc="0" normalizeH="0" baseline="0" noProof="0">
                  <a:ln>
                    <a:noFill/>
                  </a:ln>
                  <a:solidFill>
                    <a:srgbClr val="44546A">
                      <a:lumMod val="75000"/>
                    </a:srgbClr>
                  </a:solidFill>
                  <a:effectLst/>
                  <a:uLnTx/>
                  <a:uFillTx/>
                  <a:latin typeface="Klinic Slab Book"/>
                  <a:ea typeface="Open Sans"/>
                  <a:cs typeface="Open Sans"/>
                </a:rPr>
                <a:t>This presentation is being recording and will be posted on our YouTube channel to re-watch.</a:t>
              </a:r>
            </a:p>
          </p:txBody>
        </p:sp>
        <p:sp>
          <p:nvSpPr>
            <p:cNvPr id="46" name="Text Placeholder 13">
              <a:extLst>
                <a:ext uri="{FF2B5EF4-FFF2-40B4-BE49-F238E27FC236}">
                  <a16:creationId xmlns:a16="http://schemas.microsoft.com/office/drawing/2014/main" id="{AF461267-DD5D-4EB2-982F-AAFB7184C08B}"/>
                </a:ext>
              </a:extLst>
            </p:cNvPr>
            <p:cNvSpPr txBox="1">
              <a:spLocks/>
            </p:cNvSpPr>
            <p:nvPr/>
          </p:nvSpPr>
          <p:spPr>
            <a:xfrm>
              <a:off x="6924762" y="4962427"/>
              <a:ext cx="4276634" cy="400110"/>
            </a:xfrm>
            <a:prstGeom prst="rect">
              <a:avLst/>
            </a:prstGeom>
          </p:spPr>
          <p:txBody>
            <a:bodyPr wrap="square">
              <a:spAutoFit/>
            </a:bodyPr>
            <a:lstStyle>
              <a:lvl1pPr marL="0" indent="0" algn="l" defTabSz="914377" rtl="0" eaLnBrk="1" latinLnBrk="0" hangingPunct="1">
                <a:lnSpc>
                  <a:spcPct val="100000"/>
                </a:lnSpc>
                <a:spcBef>
                  <a:spcPts val="1000"/>
                </a:spcBef>
                <a:buFont typeface="Arial" panose="020B0604020202020204" pitchFamily="34" charset="0"/>
                <a:buNone/>
                <a:defRPr sz="1600" b="1" i="0" kern="120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000" b="1" i="0" u="none" strike="noStrike" kern="1200" cap="none" spc="0" normalizeH="0" baseline="0" noProof="0" dirty="0">
                  <a:ln>
                    <a:noFill/>
                  </a:ln>
                  <a:solidFill>
                    <a:prstClr val="black"/>
                  </a:solidFill>
                  <a:effectLst/>
                  <a:uLnTx/>
                  <a:uFillTx/>
                  <a:latin typeface="Gilroy Bold" panose="00000800000000000000" pitchFamily="50" charset="0"/>
                  <a:ea typeface="Open Sans" panose="020B0606030504020204" pitchFamily="34" charset="0"/>
                </a:rPr>
                <a:t>Presentation &amp; </a:t>
              </a:r>
              <a:r>
                <a:rPr kumimoji="0" lang="en-US" sz="2000" b="1" i="0" u="none" strike="noStrike" kern="1200" cap="none" spc="0" normalizeH="0" baseline="0" noProof="0" dirty="0">
                  <a:ln>
                    <a:noFill/>
                  </a:ln>
                  <a:solidFill>
                    <a:srgbClr val="8C2332"/>
                  </a:solidFill>
                  <a:effectLst/>
                  <a:uLnTx/>
                  <a:uFillTx/>
                  <a:latin typeface="Gilroy Bold" panose="00000800000000000000" pitchFamily="50" charset="0"/>
                  <a:ea typeface="Open Sans" panose="020B0606030504020204" pitchFamily="34" charset="0"/>
                </a:rPr>
                <a:t>Recording</a:t>
              </a:r>
            </a:p>
          </p:txBody>
        </p:sp>
      </p:grpSp>
      <p:pic>
        <p:nvPicPr>
          <p:cNvPr id="15" name="Picture Placeholder 14">
            <a:extLst>
              <a:ext uri="{FF2B5EF4-FFF2-40B4-BE49-F238E27FC236}">
                <a16:creationId xmlns:a16="http://schemas.microsoft.com/office/drawing/2014/main" id="{93396C7F-E80B-4735-9622-A85D75D43000}"/>
              </a:ext>
            </a:extLst>
          </p:cNvPr>
          <p:cNvPicPr>
            <a:picLocks noGrp="1" noChangeAspect="1"/>
          </p:cNvPicPr>
          <p:nvPr>
            <p:ph type="pic" sz="quarter" idx="28"/>
          </p:nvPr>
        </p:nvPicPr>
        <p:blipFill>
          <a:blip r:embed="rId3">
            <a:extLst>
              <a:ext uri="{28A0092B-C50C-407E-A947-70E740481C1C}">
                <a14:useLocalDpi xmlns:a14="http://schemas.microsoft.com/office/drawing/2010/main" val="0"/>
              </a:ext>
            </a:extLst>
          </a:blip>
          <a:stretch>
            <a:fillRect/>
          </a:stretch>
        </p:blipFill>
        <p:spPr>
          <a:xfrm>
            <a:off x="0" y="223090"/>
            <a:ext cx="4276634" cy="6411820"/>
          </a:xfrm>
        </p:spPr>
      </p:pic>
      <p:sp>
        <p:nvSpPr>
          <p:cNvPr id="16" name="Rectangle 15"/>
          <p:cNvSpPr/>
          <p:nvPr/>
        </p:nvSpPr>
        <p:spPr>
          <a:xfrm>
            <a:off x="10528419" y="341832"/>
            <a:ext cx="1663581" cy="13416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Light"/>
              <a:ea typeface="+mn-ea"/>
              <a:cs typeface="+mn-cs"/>
            </a:endParaRPr>
          </a:p>
        </p:txBody>
      </p:sp>
    </p:spTree>
    <p:extLst>
      <p:ext uri="{BB962C8B-B14F-4D97-AF65-F5344CB8AC3E}">
        <p14:creationId xmlns:p14="http://schemas.microsoft.com/office/powerpoint/2010/main" val="3214553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1000"/>
                                        <p:tgtEl>
                                          <p:spTgt spid="3"/>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1000"/>
                                        <p:tgtEl>
                                          <p:spTgt spid="4"/>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Basics of Credit</a:t>
            </a:r>
          </a:p>
        </p:txBody>
      </p:sp>
      <p:sp>
        <p:nvSpPr>
          <p:cNvPr id="5" name="TextBox 4">
            <a:extLst>
              <a:ext uri="{FF2B5EF4-FFF2-40B4-BE49-F238E27FC236}">
                <a16:creationId xmlns:a16="http://schemas.microsoft.com/office/drawing/2014/main" id="{C1AA8157-E291-D9CF-0095-2032004B0650}"/>
              </a:ext>
            </a:extLst>
          </p:cNvPr>
          <p:cNvSpPr txBox="1"/>
          <p:nvPr/>
        </p:nvSpPr>
        <p:spPr>
          <a:xfrm>
            <a:off x="3048000" y="1823357"/>
            <a:ext cx="6953250" cy="523220"/>
          </a:xfrm>
          <a:prstGeom prst="rect">
            <a:avLst/>
          </a:prstGeom>
          <a:noFill/>
        </p:spPr>
        <p:txBody>
          <a:bodyPr wrap="square" rtlCol="0">
            <a:spAutoFit/>
          </a:bodyPr>
          <a:lstStyle/>
          <a:p>
            <a:pPr marL="285750" indent="-285750">
              <a:buFont typeface="Arial" panose="020B0604020202020204" pitchFamily="34" charset="0"/>
              <a:buChar char="•"/>
            </a:pPr>
            <a:r>
              <a:rPr kumimoji="0" lang="en-US" sz="2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CREDIT SCORES</a:t>
            </a:r>
            <a:r>
              <a:rPr kumimoji="0" lang="en-US" sz="28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a:t>
            </a:r>
            <a:endParaRPr lang="en-US" sz="2800" dirty="0">
              <a:solidFill>
                <a:srgbClr val="FFFFFF"/>
              </a:solidFill>
              <a:latin typeface="Century Gothic" panose="020B0502020202020204" pitchFamily="34" charset="0"/>
            </a:endParaRPr>
          </a:p>
        </p:txBody>
      </p:sp>
      <p:grpSp>
        <p:nvGrpSpPr>
          <p:cNvPr id="3" name="Group 2">
            <a:extLst>
              <a:ext uri="{FF2B5EF4-FFF2-40B4-BE49-F238E27FC236}">
                <a16:creationId xmlns:a16="http://schemas.microsoft.com/office/drawing/2014/main" id="{060F6DBE-39BA-45F9-01E9-48517696E159}"/>
              </a:ext>
            </a:extLst>
          </p:cNvPr>
          <p:cNvGrpSpPr/>
          <p:nvPr/>
        </p:nvGrpSpPr>
        <p:grpSpPr>
          <a:xfrm>
            <a:off x="1376363" y="2798334"/>
            <a:ext cx="9439273" cy="3878597"/>
            <a:chOff x="1616603" y="2842243"/>
            <a:chExt cx="9439273" cy="3878597"/>
          </a:xfrm>
        </p:grpSpPr>
        <p:sp>
          <p:nvSpPr>
            <p:cNvPr id="6" name="Flowchart: Data 5">
              <a:extLst>
                <a:ext uri="{FF2B5EF4-FFF2-40B4-BE49-F238E27FC236}">
                  <a16:creationId xmlns:a16="http://schemas.microsoft.com/office/drawing/2014/main" id="{910ED2A6-A7C7-0AF0-564F-9DCB4E8E28FD}"/>
                </a:ext>
              </a:extLst>
            </p:cNvPr>
            <p:cNvSpPr/>
            <p:nvPr/>
          </p:nvSpPr>
          <p:spPr>
            <a:xfrm>
              <a:off x="1616603" y="2842243"/>
              <a:ext cx="2143125" cy="2914650"/>
            </a:xfrm>
            <a:prstGeom prst="flowChartInputOutput">
              <a:avLst/>
            </a:prstGeom>
            <a:solidFill>
              <a:srgbClr val="88C24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lowchart: Data 6">
              <a:extLst>
                <a:ext uri="{FF2B5EF4-FFF2-40B4-BE49-F238E27FC236}">
                  <a16:creationId xmlns:a16="http://schemas.microsoft.com/office/drawing/2014/main" id="{7BE030AD-69CF-5BD2-0EA1-105FAB9203C3}"/>
                </a:ext>
              </a:extLst>
            </p:cNvPr>
            <p:cNvSpPr/>
            <p:nvPr/>
          </p:nvSpPr>
          <p:spPr>
            <a:xfrm>
              <a:off x="3440640" y="2842243"/>
              <a:ext cx="2143125" cy="2914650"/>
            </a:xfrm>
            <a:prstGeom prst="flowChartInputOutput">
              <a:avLst/>
            </a:prstGeom>
            <a:solidFill>
              <a:srgbClr val="88C24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lowchart: Data 7">
              <a:extLst>
                <a:ext uri="{FF2B5EF4-FFF2-40B4-BE49-F238E27FC236}">
                  <a16:creationId xmlns:a16="http://schemas.microsoft.com/office/drawing/2014/main" id="{0EA54550-DEBD-AEE2-63BF-D7A743B5E98C}"/>
                </a:ext>
              </a:extLst>
            </p:cNvPr>
            <p:cNvSpPr/>
            <p:nvPr/>
          </p:nvSpPr>
          <p:spPr>
            <a:xfrm>
              <a:off x="5264677" y="2842243"/>
              <a:ext cx="2143125" cy="2914650"/>
            </a:xfrm>
            <a:prstGeom prst="flowChartInputOutput">
              <a:avLst/>
            </a:prstGeom>
            <a:solidFill>
              <a:srgbClr val="88C24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lowchart: Data 8">
              <a:extLst>
                <a:ext uri="{FF2B5EF4-FFF2-40B4-BE49-F238E27FC236}">
                  <a16:creationId xmlns:a16="http://schemas.microsoft.com/office/drawing/2014/main" id="{9CEBFCF3-6D85-2043-9AF8-8EB29739FBE1}"/>
                </a:ext>
              </a:extLst>
            </p:cNvPr>
            <p:cNvSpPr/>
            <p:nvPr/>
          </p:nvSpPr>
          <p:spPr>
            <a:xfrm>
              <a:off x="7088714" y="2842243"/>
              <a:ext cx="2143125" cy="2914650"/>
            </a:xfrm>
            <a:prstGeom prst="flowChartInputOutput">
              <a:avLst/>
            </a:prstGeom>
            <a:solidFill>
              <a:srgbClr val="88C24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lowchart: Data 9">
              <a:extLst>
                <a:ext uri="{FF2B5EF4-FFF2-40B4-BE49-F238E27FC236}">
                  <a16:creationId xmlns:a16="http://schemas.microsoft.com/office/drawing/2014/main" id="{64F91546-E17C-624A-AC8B-561EEABCC582}"/>
                </a:ext>
              </a:extLst>
            </p:cNvPr>
            <p:cNvSpPr/>
            <p:nvPr/>
          </p:nvSpPr>
          <p:spPr>
            <a:xfrm>
              <a:off x="8912751" y="2856697"/>
              <a:ext cx="2143125" cy="2914650"/>
            </a:xfrm>
            <a:prstGeom prst="flowChartInputOutput">
              <a:avLst/>
            </a:prstGeom>
            <a:solidFill>
              <a:srgbClr val="88C24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9E6960E1-BF98-AFAD-1843-42EB0ECA8964}"/>
                </a:ext>
              </a:extLst>
            </p:cNvPr>
            <p:cNvSpPr txBox="1"/>
            <p:nvPr/>
          </p:nvSpPr>
          <p:spPr>
            <a:xfrm>
              <a:off x="1969135" y="3159860"/>
              <a:ext cx="1404403" cy="2308324"/>
            </a:xfrm>
            <a:prstGeom prst="rect">
              <a:avLst/>
            </a:prstGeom>
            <a:noFill/>
          </p:spPr>
          <p:txBody>
            <a:bodyPr wrap="square" rtlCol="0">
              <a:spAutoFit/>
            </a:bodyPr>
            <a:lstStyle/>
            <a:p>
              <a:pPr algn="ctr"/>
              <a:r>
                <a:rPr lang="en-US" sz="3200" b="1" i="1" dirty="0">
                  <a:solidFill>
                    <a:schemeClr val="bg1"/>
                  </a:solidFill>
                  <a:latin typeface="Century Gothic" panose="020B0502020202020204" pitchFamily="34" charset="0"/>
                </a:rPr>
                <a:t>300 </a:t>
              </a:r>
            </a:p>
            <a:p>
              <a:pPr algn="ctr"/>
              <a:endParaRPr lang="en-US" sz="2400" b="1" i="1" dirty="0">
                <a:solidFill>
                  <a:schemeClr val="bg1"/>
                </a:solidFill>
                <a:latin typeface="Century Gothic" panose="020B0502020202020204" pitchFamily="34" charset="0"/>
              </a:endParaRPr>
            </a:p>
            <a:p>
              <a:pPr algn="ctr"/>
              <a:r>
                <a:rPr lang="en-US" sz="2400" b="1" i="1" dirty="0">
                  <a:solidFill>
                    <a:schemeClr val="bg1"/>
                  </a:solidFill>
                  <a:latin typeface="Century Gothic" panose="020B0502020202020204" pitchFamily="34" charset="0"/>
                </a:rPr>
                <a:t>-</a:t>
              </a:r>
            </a:p>
            <a:p>
              <a:pPr algn="ctr"/>
              <a:r>
                <a:rPr lang="en-US" sz="3200" b="1" i="1" dirty="0">
                  <a:solidFill>
                    <a:schemeClr val="bg1"/>
                  </a:solidFill>
                  <a:latin typeface="Century Gothic" panose="020B0502020202020204" pitchFamily="34" charset="0"/>
                </a:rPr>
                <a:t> </a:t>
              </a:r>
            </a:p>
            <a:p>
              <a:pPr algn="ctr"/>
              <a:r>
                <a:rPr lang="en-US" sz="3200" b="1" i="1" dirty="0">
                  <a:solidFill>
                    <a:schemeClr val="bg1"/>
                  </a:solidFill>
                  <a:latin typeface="Century Gothic" panose="020B0502020202020204" pitchFamily="34" charset="0"/>
                </a:rPr>
                <a:t>579</a:t>
              </a:r>
            </a:p>
          </p:txBody>
        </p:sp>
        <p:sp>
          <p:nvSpPr>
            <p:cNvPr id="12" name="TextBox 11">
              <a:extLst>
                <a:ext uri="{FF2B5EF4-FFF2-40B4-BE49-F238E27FC236}">
                  <a16:creationId xmlns:a16="http://schemas.microsoft.com/office/drawing/2014/main" id="{ABF7BA3B-E84D-E9E3-9022-E918966E6A2C}"/>
                </a:ext>
              </a:extLst>
            </p:cNvPr>
            <p:cNvSpPr txBox="1"/>
            <p:nvPr/>
          </p:nvSpPr>
          <p:spPr>
            <a:xfrm>
              <a:off x="1616603" y="5918420"/>
              <a:ext cx="1647825" cy="461665"/>
            </a:xfrm>
            <a:prstGeom prst="rect">
              <a:avLst/>
            </a:prstGeom>
            <a:noFill/>
          </p:spPr>
          <p:txBody>
            <a:bodyPr wrap="square" rtlCol="0">
              <a:spAutoFit/>
            </a:bodyPr>
            <a:lstStyle/>
            <a:p>
              <a:pPr algn="ctr"/>
              <a:r>
                <a:rPr lang="en-US" sz="2300" b="1" dirty="0">
                  <a:solidFill>
                    <a:srgbClr val="FFFFFF"/>
                  </a:solidFill>
                  <a:latin typeface="Century Gothic" panose="020B0502020202020204" pitchFamily="34" charset="0"/>
                </a:rPr>
                <a:t>POOR</a:t>
              </a:r>
            </a:p>
          </p:txBody>
        </p:sp>
        <p:sp>
          <p:nvSpPr>
            <p:cNvPr id="13" name="TextBox 12">
              <a:extLst>
                <a:ext uri="{FF2B5EF4-FFF2-40B4-BE49-F238E27FC236}">
                  <a16:creationId xmlns:a16="http://schemas.microsoft.com/office/drawing/2014/main" id="{2CECC6F6-5C91-BF9E-E8C5-E836FF14E575}"/>
                </a:ext>
              </a:extLst>
            </p:cNvPr>
            <p:cNvSpPr txBox="1"/>
            <p:nvPr/>
          </p:nvSpPr>
          <p:spPr>
            <a:xfrm>
              <a:off x="3826615" y="3145406"/>
              <a:ext cx="1404618" cy="2322778"/>
            </a:xfrm>
            <a:prstGeom prst="rect">
              <a:avLst/>
            </a:prstGeom>
            <a:noFill/>
          </p:spPr>
          <p:txBody>
            <a:bodyPr wrap="square" rtlCol="0">
              <a:spAutoFit/>
            </a:bodyPr>
            <a:lstStyle/>
            <a:p>
              <a:pPr algn="ctr"/>
              <a:r>
                <a:rPr lang="en-US" sz="3200" b="1" i="1" dirty="0">
                  <a:solidFill>
                    <a:schemeClr val="bg1"/>
                  </a:solidFill>
                  <a:latin typeface="Century Gothic" panose="020B0502020202020204" pitchFamily="34" charset="0"/>
                </a:rPr>
                <a:t>580 </a:t>
              </a:r>
            </a:p>
            <a:p>
              <a:pPr algn="ctr"/>
              <a:endParaRPr lang="en-US" sz="2400" b="1" i="1" dirty="0">
                <a:solidFill>
                  <a:schemeClr val="bg1"/>
                </a:solidFill>
                <a:latin typeface="Century Gothic" panose="020B0502020202020204" pitchFamily="34" charset="0"/>
              </a:endParaRPr>
            </a:p>
            <a:p>
              <a:pPr algn="ctr"/>
              <a:r>
                <a:rPr lang="en-US" sz="2400" b="1" i="1" dirty="0">
                  <a:solidFill>
                    <a:schemeClr val="bg1"/>
                  </a:solidFill>
                  <a:latin typeface="Century Gothic" panose="020B0502020202020204" pitchFamily="34" charset="0"/>
                </a:rPr>
                <a:t>-</a:t>
              </a:r>
            </a:p>
            <a:p>
              <a:pPr algn="ctr"/>
              <a:r>
                <a:rPr lang="en-US" sz="3200" b="1" i="1" dirty="0">
                  <a:solidFill>
                    <a:schemeClr val="bg1"/>
                  </a:solidFill>
                  <a:latin typeface="Century Gothic" panose="020B0502020202020204" pitchFamily="34" charset="0"/>
                </a:rPr>
                <a:t> </a:t>
              </a:r>
            </a:p>
            <a:p>
              <a:pPr algn="ctr"/>
              <a:r>
                <a:rPr lang="en-US" sz="3200" b="1" i="1" dirty="0">
                  <a:solidFill>
                    <a:schemeClr val="bg1"/>
                  </a:solidFill>
                  <a:latin typeface="Century Gothic" panose="020B0502020202020204" pitchFamily="34" charset="0"/>
                </a:rPr>
                <a:t>669</a:t>
              </a:r>
            </a:p>
          </p:txBody>
        </p:sp>
        <p:sp>
          <p:nvSpPr>
            <p:cNvPr id="14" name="TextBox 13">
              <a:extLst>
                <a:ext uri="{FF2B5EF4-FFF2-40B4-BE49-F238E27FC236}">
                  <a16:creationId xmlns:a16="http://schemas.microsoft.com/office/drawing/2014/main" id="{D712DD26-9D96-487F-AC97-ECA6F09C0C00}"/>
                </a:ext>
              </a:extLst>
            </p:cNvPr>
            <p:cNvSpPr txBox="1"/>
            <p:nvPr/>
          </p:nvSpPr>
          <p:spPr>
            <a:xfrm>
              <a:off x="3474083" y="5918419"/>
              <a:ext cx="1647825" cy="461665"/>
            </a:xfrm>
            <a:prstGeom prst="rect">
              <a:avLst/>
            </a:prstGeom>
            <a:noFill/>
          </p:spPr>
          <p:txBody>
            <a:bodyPr wrap="square" rtlCol="0">
              <a:spAutoFit/>
            </a:bodyPr>
            <a:lstStyle/>
            <a:p>
              <a:pPr algn="ctr"/>
              <a:r>
                <a:rPr lang="en-US" sz="2300" b="1" dirty="0">
                  <a:solidFill>
                    <a:srgbClr val="FFFFFF"/>
                  </a:solidFill>
                  <a:latin typeface="Century Gothic" panose="020B0502020202020204" pitchFamily="34" charset="0"/>
                </a:rPr>
                <a:t>FAIR</a:t>
              </a:r>
            </a:p>
          </p:txBody>
        </p:sp>
        <p:sp>
          <p:nvSpPr>
            <p:cNvPr id="15" name="TextBox 14">
              <a:extLst>
                <a:ext uri="{FF2B5EF4-FFF2-40B4-BE49-F238E27FC236}">
                  <a16:creationId xmlns:a16="http://schemas.microsoft.com/office/drawing/2014/main" id="{F90D6730-02A4-ACC2-F353-A2FBA15201CF}"/>
                </a:ext>
              </a:extLst>
            </p:cNvPr>
            <p:cNvSpPr txBox="1"/>
            <p:nvPr/>
          </p:nvSpPr>
          <p:spPr>
            <a:xfrm>
              <a:off x="5641344" y="3138179"/>
              <a:ext cx="1404618" cy="2322778"/>
            </a:xfrm>
            <a:prstGeom prst="rect">
              <a:avLst/>
            </a:prstGeom>
            <a:noFill/>
          </p:spPr>
          <p:txBody>
            <a:bodyPr wrap="square" rtlCol="0">
              <a:spAutoFit/>
            </a:bodyPr>
            <a:lstStyle/>
            <a:p>
              <a:pPr algn="ctr"/>
              <a:r>
                <a:rPr lang="en-US" sz="3200" b="1" i="1" dirty="0">
                  <a:solidFill>
                    <a:schemeClr val="bg1"/>
                  </a:solidFill>
                  <a:latin typeface="Century Gothic" panose="020B0502020202020204" pitchFamily="34" charset="0"/>
                </a:rPr>
                <a:t>670 </a:t>
              </a:r>
            </a:p>
            <a:p>
              <a:pPr algn="ctr"/>
              <a:endParaRPr lang="en-US" sz="2400" b="1" i="1" dirty="0">
                <a:solidFill>
                  <a:schemeClr val="bg1"/>
                </a:solidFill>
                <a:latin typeface="Century Gothic" panose="020B0502020202020204" pitchFamily="34" charset="0"/>
              </a:endParaRPr>
            </a:p>
            <a:p>
              <a:pPr algn="ctr"/>
              <a:r>
                <a:rPr lang="en-US" sz="2400" b="1" i="1" dirty="0">
                  <a:solidFill>
                    <a:schemeClr val="bg1"/>
                  </a:solidFill>
                  <a:latin typeface="Century Gothic" panose="020B0502020202020204" pitchFamily="34" charset="0"/>
                </a:rPr>
                <a:t>-</a:t>
              </a:r>
            </a:p>
            <a:p>
              <a:pPr algn="ctr"/>
              <a:r>
                <a:rPr lang="en-US" sz="3200" b="1" i="1" dirty="0">
                  <a:solidFill>
                    <a:schemeClr val="bg1"/>
                  </a:solidFill>
                  <a:latin typeface="Century Gothic" panose="020B0502020202020204" pitchFamily="34" charset="0"/>
                </a:rPr>
                <a:t> </a:t>
              </a:r>
            </a:p>
            <a:p>
              <a:pPr algn="ctr"/>
              <a:r>
                <a:rPr lang="en-US" sz="3200" b="1" i="1" dirty="0">
                  <a:solidFill>
                    <a:schemeClr val="bg1"/>
                  </a:solidFill>
                  <a:latin typeface="Century Gothic" panose="020B0502020202020204" pitchFamily="34" charset="0"/>
                </a:rPr>
                <a:t>739</a:t>
              </a:r>
            </a:p>
          </p:txBody>
        </p:sp>
        <p:sp>
          <p:nvSpPr>
            <p:cNvPr id="16" name="TextBox 15">
              <a:extLst>
                <a:ext uri="{FF2B5EF4-FFF2-40B4-BE49-F238E27FC236}">
                  <a16:creationId xmlns:a16="http://schemas.microsoft.com/office/drawing/2014/main" id="{B50963FF-8F98-A6CF-B892-FFEFC4215F2C}"/>
                </a:ext>
              </a:extLst>
            </p:cNvPr>
            <p:cNvSpPr txBox="1"/>
            <p:nvPr/>
          </p:nvSpPr>
          <p:spPr>
            <a:xfrm>
              <a:off x="5226578" y="5904131"/>
              <a:ext cx="1647825" cy="461665"/>
            </a:xfrm>
            <a:prstGeom prst="rect">
              <a:avLst/>
            </a:prstGeom>
            <a:noFill/>
          </p:spPr>
          <p:txBody>
            <a:bodyPr wrap="square" rtlCol="0">
              <a:spAutoFit/>
            </a:bodyPr>
            <a:lstStyle/>
            <a:p>
              <a:pPr algn="ctr"/>
              <a:r>
                <a:rPr lang="en-US" sz="2300" b="1" dirty="0">
                  <a:solidFill>
                    <a:srgbClr val="FFFFFF"/>
                  </a:solidFill>
                  <a:latin typeface="Century Gothic" panose="020B0502020202020204" pitchFamily="34" charset="0"/>
                </a:rPr>
                <a:t>GOOD</a:t>
              </a:r>
            </a:p>
          </p:txBody>
        </p:sp>
        <p:sp>
          <p:nvSpPr>
            <p:cNvPr id="17" name="TextBox 16">
              <a:extLst>
                <a:ext uri="{FF2B5EF4-FFF2-40B4-BE49-F238E27FC236}">
                  <a16:creationId xmlns:a16="http://schemas.microsoft.com/office/drawing/2014/main" id="{C4DC5B8F-4AA5-44A2-5B52-5D692F6B58E3}"/>
                </a:ext>
              </a:extLst>
            </p:cNvPr>
            <p:cNvSpPr txBox="1"/>
            <p:nvPr/>
          </p:nvSpPr>
          <p:spPr>
            <a:xfrm>
              <a:off x="7474904" y="3138179"/>
              <a:ext cx="1404618" cy="2322778"/>
            </a:xfrm>
            <a:prstGeom prst="rect">
              <a:avLst/>
            </a:prstGeom>
            <a:noFill/>
          </p:spPr>
          <p:txBody>
            <a:bodyPr wrap="square" rtlCol="0">
              <a:spAutoFit/>
            </a:bodyPr>
            <a:lstStyle/>
            <a:p>
              <a:pPr algn="ctr"/>
              <a:r>
                <a:rPr lang="en-US" sz="3200" b="1" i="1" dirty="0">
                  <a:solidFill>
                    <a:schemeClr val="bg1"/>
                  </a:solidFill>
                  <a:latin typeface="Century Gothic" panose="020B0502020202020204" pitchFamily="34" charset="0"/>
                </a:rPr>
                <a:t>740 </a:t>
              </a:r>
            </a:p>
            <a:p>
              <a:pPr algn="ctr"/>
              <a:endParaRPr lang="en-US" sz="2400" b="1" i="1" dirty="0">
                <a:solidFill>
                  <a:schemeClr val="bg1"/>
                </a:solidFill>
                <a:latin typeface="Century Gothic" panose="020B0502020202020204" pitchFamily="34" charset="0"/>
              </a:endParaRPr>
            </a:p>
            <a:p>
              <a:pPr algn="ctr"/>
              <a:r>
                <a:rPr lang="en-US" sz="2400" b="1" i="1" dirty="0">
                  <a:solidFill>
                    <a:schemeClr val="bg1"/>
                  </a:solidFill>
                  <a:latin typeface="Century Gothic" panose="020B0502020202020204" pitchFamily="34" charset="0"/>
                </a:rPr>
                <a:t>-</a:t>
              </a:r>
            </a:p>
            <a:p>
              <a:pPr algn="ctr"/>
              <a:r>
                <a:rPr lang="en-US" sz="3200" b="1" i="1" dirty="0">
                  <a:solidFill>
                    <a:schemeClr val="bg1"/>
                  </a:solidFill>
                  <a:latin typeface="Century Gothic" panose="020B0502020202020204" pitchFamily="34" charset="0"/>
                </a:rPr>
                <a:t> </a:t>
              </a:r>
            </a:p>
            <a:p>
              <a:pPr algn="ctr"/>
              <a:r>
                <a:rPr lang="en-US" sz="3200" b="1" i="1" dirty="0">
                  <a:solidFill>
                    <a:schemeClr val="bg1"/>
                  </a:solidFill>
                  <a:latin typeface="Century Gothic" panose="020B0502020202020204" pitchFamily="34" charset="0"/>
                </a:rPr>
                <a:t>799</a:t>
              </a:r>
            </a:p>
          </p:txBody>
        </p:sp>
        <p:sp>
          <p:nvSpPr>
            <p:cNvPr id="18" name="TextBox 17">
              <a:extLst>
                <a:ext uri="{FF2B5EF4-FFF2-40B4-BE49-F238E27FC236}">
                  <a16:creationId xmlns:a16="http://schemas.microsoft.com/office/drawing/2014/main" id="{29F14C2B-A19F-BEF3-4C87-85A8C67D856D}"/>
                </a:ext>
              </a:extLst>
            </p:cNvPr>
            <p:cNvSpPr txBox="1"/>
            <p:nvPr/>
          </p:nvSpPr>
          <p:spPr>
            <a:xfrm>
              <a:off x="7017274" y="5889843"/>
              <a:ext cx="1819384" cy="830997"/>
            </a:xfrm>
            <a:prstGeom prst="rect">
              <a:avLst/>
            </a:prstGeom>
            <a:noFill/>
          </p:spPr>
          <p:txBody>
            <a:bodyPr wrap="square" rtlCol="0">
              <a:spAutoFit/>
            </a:bodyPr>
            <a:lstStyle/>
            <a:p>
              <a:pPr algn="ctr"/>
              <a:r>
                <a:rPr lang="en-US" sz="2300" b="1" dirty="0">
                  <a:solidFill>
                    <a:srgbClr val="FFFFFF"/>
                  </a:solidFill>
                  <a:latin typeface="Century Gothic" panose="020B0502020202020204" pitchFamily="34" charset="0"/>
                </a:rPr>
                <a:t>VERY GOOD</a:t>
              </a:r>
            </a:p>
          </p:txBody>
        </p:sp>
        <p:sp>
          <p:nvSpPr>
            <p:cNvPr id="19" name="TextBox 18">
              <a:extLst>
                <a:ext uri="{FF2B5EF4-FFF2-40B4-BE49-F238E27FC236}">
                  <a16:creationId xmlns:a16="http://schemas.microsoft.com/office/drawing/2014/main" id="{7A326CF4-1B12-4309-1B7A-25BE38ADC6F0}"/>
                </a:ext>
              </a:extLst>
            </p:cNvPr>
            <p:cNvSpPr txBox="1"/>
            <p:nvPr/>
          </p:nvSpPr>
          <p:spPr>
            <a:xfrm>
              <a:off x="9298941" y="3145406"/>
              <a:ext cx="1404618" cy="2322778"/>
            </a:xfrm>
            <a:prstGeom prst="rect">
              <a:avLst/>
            </a:prstGeom>
            <a:noFill/>
          </p:spPr>
          <p:txBody>
            <a:bodyPr wrap="square" rtlCol="0">
              <a:spAutoFit/>
            </a:bodyPr>
            <a:lstStyle/>
            <a:p>
              <a:pPr algn="ctr"/>
              <a:r>
                <a:rPr lang="en-US" sz="3200" b="1" i="1" dirty="0">
                  <a:solidFill>
                    <a:schemeClr val="bg1"/>
                  </a:solidFill>
                  <a:latin typeface="Century Gothic" panose="020B0502020202020204" pitchFamily="34" charset="0"/>
                </a:rPr>
                <a:t>800 </a:t>
              </a:r>
            </a:p>
            <a:p>
              <a:pPr algn="ctr"/>
              <a:endParaRPr lang="en-US" sz="2400" b="1" i="1" dirty="0">
                <a:solidFill>
                  <a:schemeClr val="bg1"/>
                </a:solidFill>
                <a:latin typeface="Century Gothic" panose="020B0502020202020204" pitchFamily="34" charset="0"/>
              </a:endParaRPr>
            </a:p>
            <a:p>
              <a:pPr algn="ctr"/>
              <a:r>
                <a:rPr lang="en-US" sz="2400" b="1" i="1" dirty="0">
                  <a:solidFill>
                    <a:schemeClr val="bg1"/>
                  </a:solidFill>
                  <a:latin typeface="Century Gothic" panose="020B0502020202020204" pitchFamily="34" charset="0"/>
                </a:rPr>
                <a:t>-</a:t>
              </a:r>
            </a:p>
            <a:p>
              <a:pPr algn="ctr"/>
              <a:r>
                <a:rPr lang="en-US" sz="3200" b="1" i="1" dirty="0">
                  <a:solidFill>
                    <a:schemeClr val="bg1"/>
                  </a:solidFill>
                  <a:latin typeface="Century Gothic" panose="020B0502020202020204" pitchFamily="34" charset="0"/>
                </a:rPr>
                <a:t> </a:t>
              </a:r>
            </a:p>
            <a:p>
              <a:pPr algn="ctr"/>
              <a:r>
                <a:rPr lang="en-US" sz="3200" b="1" i="1" dirty="0">
                  <a:solidFill>
                    <a:schemeClr val="bg1"/>
                  </a:solidFill>
                  <a:latin typeface="Century Gothic" panose="020B0502020202020204" pitchFamily="34" charset="0"/>
                </a:rPr>
                <a:t>850</a:t>
              </a:r>
            </a:p>
          </p:txBody>
        </p:sp>
        <p:sp>
          <p:nvSpPr>
            <p:cNvPr id="20" name="TextBox 19">
              <a:extLst>
                <a:ext uri="{FF2B5EF4-FFF2-40B4-BE49-F238E27FC236}">
                  <a16:creationId xmlns:a16="http://schemas.microsoft.com/office/drawing/2014/main" id="{CFB3B5CC-722C-4721-EA7B-8B435DBEE8D4}"/>
                </a:ext>
              </a:extLst>
            </p:cNvPr>
            <p:cNvSpPr txBox="1"/>
            <p:nvPr/>
          </p:nvSpPr>
          <p:spPr>
            <a:xfrm>
              <a:off x="8912640" y="5875554"/>
              <a:ext cx="1714609" cy="446276"/>
            </a:xfrm>
            <a:prstGeom prst="rect">
              <a:avLst/>
            </a:prstGeom>
            <a:noFill/>
          </p:spPr>
          <p:txBody>
            <a:bodyPr wrap="square" rtlCol="0">
              <a:spAutoFit/>
            </a:bodyPr>
            <a:lstStyle/>
            <a:p>
              <a:pPr algn="ctr"/>
              <a:r>
                <a:rPr lang="en-US" sz="2300" b="1" dirty="0">
                  <a:solidFill>
                    <a:srgbClr val="FFFFFF"/>
                  </a:solidFill>
                  <a:latin typeface="Century Gothic" panose="020B0502020202020204" pitchFamily="34" charset="0"/>
                </a:rPr>
                <a:t>EXCELLENT</a:t>
              </a:r>
            </a:p>
          </p:txBody>
        </p:sp>
      </p:grpSp>
    </p:spTree>
    <p:extLst>
      <p:ext uri="{BB962C8B-B14F-4D97-AF65-F5344CB8AC3E}">
        <p14:creationId xmlns:p14="http://schemas.microsoft.com/office/powerpoint/2010/main" val="39176781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Basics of Credit</a:t>
            </a:r>
          </a:p>
        </p:txBody>
      </p:sp>
      <p:sp>
        <p:nvSpPr>
          <p:cNvPr id="5" name="TextBox 4">
            <a:extLst>
              <a:ext uri="{FF2B5EF4-FFF2-40B4-BE49-F238E27FC236}">
                <a16:creationId xmlns:a16="http://schemas.microsoft.com/office/drawing/2014/main" id="{C1AA8157-E291-D9CF-0095-2032004B0650}"/>
              </a:ext>
            </a:extLst>
          </p:cNvPr>
          <p:cNvSpPr txBox="1"/>
          <p:nvPr/>
        </p:nvSpPr>
        <p:spPr>
          <a:xfrm>
            <a:off x="3048000" y="1823357"/>
            <a:ext cx="6953250" cy="3108543"/>
          </a:xfrm>
          <a:prstGeom prst="rect">
            <a:avLst/>
          </a:prstGeom>
          <a:noFill/>
        </p:spPr>
        <p:txBody>
          <a:bodyPr wrap="square" rtlCol="0">
            <a:spAutoFit/>
          </a:bodyPr>
          <a:lstStyle/>
          <a:p>
            <a:pPr marL="285750" indent="-285750">
              <a:buFont typeface="Arial" panose="020B0604020202020204" pitchFamily="34" charset="0"/>
              <a:buChar char="•"/>
            </a:pPr>
            <a:r>
              <a:rPr kumimoji="0" lang="en-US" sz="2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CREDIT SCORE</a:t>
            </a:r>
            <a:r>
              <a:rPr kumimoji="0" lang="en-US" sz="28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 </a:t>
            </a:r>
            <a:r>
              <a:rPr kumimoji="0" lang="en-US" sz="2800" b="0" i="0" u="none" strike="noStrike" kern="1200" cap="none" spc="0" normalizeH="0" baseline="0" noProof="0" dirty="0">
                <a:ln>
                  <a:noFill/>
                </a:ln>
                <a:solidFill>
                  <a:srgbClr val="FFFFFF">
                    <a:alpha val="30000"/>
                  </a:srgbClr>
                </a:solidFill>
                <a:effectLst/>
                <a:uLnTx/>
                <a:uFillTx/>
                <a:latin typeface="Century Gothic" panose="020B0502020202020204" pitchFamily="34" charset="0"/>
                <a:ea typeface="+mn-ea"/>
                <a:cs typeface="+mn-cs"/>
              </a:rPr>
              <a:t>a three-digit number that uses information from your credit report to predict how likely you are to pay back as agreed credit that may be extended to you.</a:t>
            </a:r>
          </a:p>
          <a:p>
            <a:pPr marL="285750" indent="-285750">
              <a:buFont typeface="Arial" panose="020B0604020202020204" pitchFamily="34" charset="0"/>
              <a:buChar char="•"/>
            </a:pPr>
            <a:r>
              <a:rPr lang="en-US" sz="2800" dirty="0">
                <a:solidFill>
                  <a:srgbClr val="FFFFFF"/>
                </a:solidFill>
                <a:latin typeface="Century Gothic" panose="020B0502020202020204" pitchFamily="34" charset="0"/>
              </a:rPr>
              <a:t>A credit score is </a:t>
            </a:r>
            <a:r>
              <a:rPr lang="en-US" sz="2800" b="1" i="1" dirty="0">
                <a:solidFill>
                  <a:srgbClr val="92D050"/>
                </a:solidFill>
                <a:latin typeface="Century Gothic" panose="020B0502020202020204" pitchFamily="34" charset="0"/>
              </a:rPr>
              <a:t>NOT</a:t>
            </a:r>
            <a:r>
              <a:rPr lang="en-US" sz="2800" dirty="0">
                <a:solidFill>
                  <a:srgbClr val="FFFFFF"/>
                </a:solidFill>
                <a:latin typeface="Century Gothic" panose="020B0502020202020204" pitchFamily="34" charset="0"/>
              </a:rPr>
              <a:t> a financial health score. </a:t>
            </a:r>
          </a:p>
        </p:txBody>
      </p:sp>
    </p:spTree>
    <p:extLst>
      <p:ext uri="{BB962C8B-B14F-4D97-AF65-F5344CB8AC3E}">
        <p14:creationId xmlns:p14="http://schemas.microsoft.com/office/powerpoint/2010/main" val="11556418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Why Credit Matters</a:t>
            </a:r>
          </a:p>
        </p:txBody>
      </p:sp>
      <p:sp>
        <p:nvSpPr>
          <p:cNvPr id="5" name="TextBox 4">
            <a:extLst>
              <a:ext uri="{FF2B5EF4-FFF2-40B4-BE49-F238E27FC236}">
                <a16:creationId xmlns:a16="http://schemas.microsoft.com/office/drawing/2014/main" id="{C1AA8157-E291-D9CF-0095-2032004B0650}"/>
              </a:ext>
            </a:extLst>
          </p:cNvPr>
          <p:cNvSpPr txBox="1"/>
          <p:nvPr/>
        </p:nvSpPr>
        <p:spPr>
          <a:xfrm>
            <a:off x="3048000" y="1823357"/>
            <a:ext cx="6953250" cy="523220"/>
          </a:xfrm>
          <a:prstGeom prst="rect">
            <a:avLst/>
          </a:prstGeom>
          <a:noFill/>
        </p:spPr>
        <p:txBody>
          <a:bodyPr wrap="square" rtlCol="0">
            <a:spAutoFit/>
          </a:bodyPr>
          <a:lstStyle/>
          <a:p>
            <a:pPr marL="285750" indent="-285750">
              <a:buFont typeface="Arial" panose="020B0604020202020204" pitchFamily="34" charset="0"/>
              <a:buChar char="•"/>
            </a:pPr>
            <a:r>
              <a:rPr kumimoji="0" lang="en-US" sz="2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CREDIT CAN IMPACT YOUR ABILITY TO:</a:t>
            </a:r>
            <a:endParaRPr lang="en-US" sz="2800" dirty="0">
              <a:solidFill>
                <a:srgbClr val="FFFFFF"/>
              </a:solidFill>
              <a:latin typeface="Century Gothic" panose="020B0502020202020204" pitchFamily="34" charset="0"/>
            </a:endParaRPr>
          </a:p>
        </p:txBody>
      </p:sp>
    </p:spTree>
    <p:extLst>
      <p:ext uri="{BB962C8B-B14F-4D97-AF65-F5344CB8AC3E}">
        <p14:creationId xmlns:p14="http://schemas.microsoft.com/office/powerpoint/2010/main" val="290949192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Why Credit Matters</a:t>
            </a:r>
          </a:p>
        </p:txBody>
      </p:sp>
      <p:sp>
        <p:nvSpPr>
          <p:cNvPr id="5" name="TextBox 4">
            <a:extLst>
              <a:ext uri="{FF2B5EF4-FFF2-40B4-BE49-F238E27FC236}">
                <a16:creationId xmlns:a16="http://schemas.microsoft.com/office/drawing/2014/main" id="{C1AA8157-E291-D9CF-0095-2032004B0650}"/>
              </a:ext>
            </a:extLst>
          </p:cNvPr>
          <p:cNvSpPr txBox="1"/>
          <p:nvPr/>
        </p:nvSpPr>
        <p:spPr>
          <a:xfrm>
            <a:off x="3048000" y="1823357"/>
            <a:ext cx="6953250" cy="954107"/>
          </a:xfrm>
          <a:prstGeom prst="rect">
            <a:avLst/>
          </a:prstGeom>
          <a:noFill/>
        </p:spPr>
        <p:txBody>
          <a:bodyPr wrap="square" rtlCol="0">
            <a:spAutoFit/>
          </a:bodyPr>
          <a:lstStyle/>
          <a:p>
            <a:pPr marL="285750" indent="-285750">
              <a:buFont typeface="Arial" panose="020B0604020202020204" pitchFamily="34" charset="0"/>
              <a:buChar char="•"/>
            </a:pPr>
            <a:r>
              <a:rPr kumimoji="0" lang="en-US" sz="2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CREDIT CAN IMPACT YOUR ABILITY TO:</a:t>
            </a:r>
          </a:p>
          <a:p>
            <a:pPr marL="742950" lvl="1" indent="-285750">
              <a:buFont typeface="Arial" panose="020B0604020202020204" pitchFamily="34" charset="0"/>
              <a:buChar char="•"/>
            </a:pPr>
            <a:r>
              <a:rPr lang="en-US" sz="2800" dirty="0">
                <a:solidFill>
                  <a:srgbClr val="FFFFFF"/>
                </a:solidFill>
                <a:latin typeface="Century Gothic" panose="020B0502020202020204" pitchFamily="34" charset="0"/>
              </a:rPr>
              <a:t>rent or purchase a home</a:t>
            </a:r>
          </a:p>
        </p:txBody>
      </p:sp>
    </p:spTree>
    <p:extLst>
      <p:ext uri="{BB962C8B-B14F-4D97-AF65-F5344CB8AC3E}">
        <p14:creationId xmlns:p14="http://schemas.microsoft.com/office/powerpoint/2010/main" val="2770646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Why Credit Matters</a:t>
            </a:r>
          </a:p>
        </p:txBody>
      </p:sp>
      <p:sp>
        <p:nvSpPr>
          <p:cNvPr id="5" name="TextBox 4">
            <a:extLst>
              <a:ext uri="{FF2B5EF4-FFF2-40B4-BE49-F238E27FC236}">
                <a16:creationId xmlns:a16="http://schemas.microsoft.com/office/drawing/2014/main" id="{C1AA8157-E291-D9CF-0095-2032004B0650}"/>
              </a:ext>
            </a:extLst>
          </p:cNvPr>
          <p:cNvSpPr txBox="1"/>
          <p:nvPr/>
        </p:nvSpPr>
        <p:spPr>
          <a:xfrm>
            <a:off x="3048000" y="1823357"/>
            <a:ext cx="6953250" cy="1384995"/>
          </a:xfrm>
          <a:prstGeom prst="rect">
            <a:avLst/>
          </a:prstGeom>
          <a:noFill/>
        </p:spPr>
        <p:txBody>
          <a:bodyPr wrap="square" rtlCol="0">
            <a:spAutoFit/>
          </a:bodyPr>
          <a:lstStyle/>
          <a:p>
            <a:pPr marL="285750" indent="-285750">
              <a:buFont typeface="Arial" panose="020B0604020202020204" pitchFamily="34" charset="0"/>
              <a:buChar char="•"/>
            </a:pPr>
            <a:r>
              <a:rPr kumimoji="0" lang="en-US" sz="2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CREDIT CAN IMPACT YOUR ABILITY TO:</a:t>
            </a:r>
          </a:p>
          <a:p>
            <a:pPr marL="742950" lvl="1"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rent or purchase a home</a:t>
            </a:r>
          </a:p>
          <a:p>
            <a:pPr marL="742950" lvl="1" indent="-285750">
              <a:buFont typeface="Arial" panose="020B0604020202020204" pitchFamily="34" charset="0"/>
              <a:buChar char="•"/>
            </a:pPr>
            <a:r>
              <a:rPr lang="en-US" sz="2800" dirty="0">
                <a:solidFill>
                  <a:srgbClr val="FFFFFF"/>
                </a:solidFill>
                <a:latin typeface="Century Gothic" panose="020B0502020202020204" pitchFamily="34" charset="0"/>
              </a:rPr>
              <a:t>turn on utilities in your name</a:t>
            </a:r>
          </a:p>
        </p:txBody>
      </p:sp>
    </p:spTree>
    <p:extLst>
      <p:ext uri="{BB962C8B-B14F-4D97-AF65-F5344CB8AC3E}">
        <p14:creationId xmlns:p14="http://schemas.microsoft.com/office/powerpoint/2010/main" val="9638625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Why Credit Matters</a:t>
            </a:r>
          </a:p>
        </p:txBody>
      </p:sp>
      <p:sp>
        <p:nvSpPr>
          <p:cNvPr id="5" name="TextBox 4">
            <a:extLst>
              <a:ext uri="{FF2B5EF4-FFF2-40B4-BE49-F238E27FC236}">
                <a16:creationId xmlns:a16="http://schemas.microsoft.com/office/drawing/2014/main" id="{C1AA8157-E291-D9CF-0095-2032004B0650}"/>
              </a:ext>
            </a:extLst>
          </p:cNvPr>
          <p:cNvSpPr txBox="1"/>
          <p:nvPr/>
        </p:nvSpPr>
        <p:spPr>
          <a:xfrm>
            <a:off x="3048000" y="1823357"/>
            <a:ext cx="6953250" cy="1815882"/>
          </a:xfrm>
          <a:prstGeom prst="rect">
            <a:avLst/>
          </a:prstGeom>
          <a:noFill/>
        </p:spPr>
        <p:txBody>
          <a:bodyPr wrap="square" rtlCol="0">
            <a:spAutoFit/>
          </a:bodyPr>
          <a:lstStyle/>
          <a:p>
            <a:pPr marL="285750" indent="-285750">
              <a:buFont typeface="Arial" panose="020B0604020202020204" pitchFamily="34" charset="0"/>
              <a:buChar char="•"/>
            </a:pPr>
            <a:r>
              <a:rPr kumimoji="0" lang="en-US" sz="2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CREDIT CAN IMPACT YOUR ABILITY TO:</a:t>
            </a:r>
          </a:p>
          <a:p>
            <a:pPr marL="742950" lvl="1"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rent or purchase a home</a:t>
            </a:r>
          </a:p>
          <a:p>
            <a:pPr marL="742950" lvl="1"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turn on utilities in your name</a:t>
            </a:r>
          </a:p>
          <a:p>
            <a:pPr marL="742950" lvl="1" indent="-285750">
              <a:buFont typeface="Arial" panose="020B0604020202020204" pitchFamily="34" charset="0"/>
              <a:buChar char="•"/>
            </a:pPr>
            <a:r>
              <a:rPr lang="en-US" sz="2800" dirty="0">
                <a:solidFill>
                  <a:srgbClr val="FFFFFF"/>
                </a:solidFill>
                <a:latin typeface="Century Gothic" panose="020B0502020202020204" pitchFamily="34" charset="0"/>
              </a:rPr>
              <a:t>get and/or keep some jobs</a:t>
            </a:r>
          </a:p>
        </p:txBody>
      </p:sp>
    </p:spTree>
    <p:extLst>
      <p:ext uri="{BB962C8B-B14F-4D97-AF65-F5344CB8AC3E}">
        <p14:creationId xmlns:p14="http://schemas.microsoft.com/office/powerpoint/2010/main" val="14070169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Why Credit Matters</a:t>
            </a:r>
          </a:p>
        </p:txBody>
      </p:sp>
      <p:sp>
        <p:nvSpPr>
          <p:cNvPr id="5" name="TextBox 4">
            <a:extLst>
              <a:ext uri="{FF2B5EF4-FFF2-40B4-BE49-F238E27FC236}">
                <a16:creationId xmlns:a16="http://schemas.microsoft.com/office/drawing/2014/main" id="{C1AA8157-E291-D9CF-0095-2032004B0650}"/>
              </a:ext>
            </a:extLst>
          </p:cNvPr>
          <p:cNvSpPr txBox="1"/>
          <p:nvPr/>
        </p:nvSpPr>
        <p:spPr>
          <a:xfrm>
            <a:off x="3048000" y="1823357"/>
            <a:ext cx="6953250" cy="2677656"/>
          </a:xfrm>
          <a:prstGeom prst="rect">
            <a:avLst/>
          </a:prstGeom>
          <a:noFill/>
        </p:spPr>
        <p:txBody>
          <a:bodyPr wrap="square" rtlCol="0">
            <a:spAutoFit/>
          </a:bodyPr>
          <a:lstStyle/>
          <a:p>
            <a:pPr marL="285750" indent="-285750">
              <a:buFont typeface="Arial" panose="020B0604020202020204" pitchFamily="34" charset="0"/>
              <a:buChar char="•"/>
            </a:pPr>
            <a:r>
              <a:rPr kumimoji="0" lang="en-US" sz="2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CREDIT CAN IMPACT YOUR ABILITY TO:</a:t>
            </a:r>
          </a:p>
          <a:p>
            <a:pPr marL="742950" lvl="1"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rent or purchase a home</a:t>
            </a:r>
          </a:p>
          <a:p>
            <a:pPr marL="742950" lvl="1"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turn on utilities in your name</a:t>
            </a:r>
          </a:p>
          <a:p>
            <a:pPr marL="742950" lvl="1"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get and/or keep some jobs</a:t>
            </a:r>
          </a:p>
          <a:p>
            <a:pPr marL="742950" lvl="1" indent="-285750">
              <a:buFont typeface="Arial" panose="020B0604020202020204" pitchFamily="34" charset="0"/>
              <a:buChar char="•"/>
            </a:pPr>
            <a:r>
              <a:rPr lang="en-US" sz="2800" dirty="0">
                <a:solidFill>
                  <a:srgbClr val="FFFFFF"/>
                </a:solidFill>
                <a:latin typeface="Century Gothic" panose="020B0502020202020204" pitchFamily="34" charset="0"/>
              </a:rPr>
              <a:t>open bank accounts and apply for loans and credit cards</a:t>
            </a:r>
          </a:p>
        </p:txBody>
      </p:sp>
    </p:spTree>
    <p:extLst>
      <p:ext uri="{BB962C8B-B14F-4D97-AF65-F5344CB8AC3E}">
        <p14:creationId xmlns:p14="http://schemas.microsoft.com/office/powerpoint/2010/main" val="20392658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Why Credit Matters</a:t>
            </a:r>
          </a:p>
        </p:txBody>
      </p:sp>
      <p:sp>
        <p:nvSpPr>
          <p:cNvPr id="5" name="TextBox 4">
            <a:extLst>
              <a:ext uri="{FF2B5EF4-FFF2-40B4-BE49-F238E27FC236}">
                <a16:creationId xmlns:a16="http://schemas.microsoft.com/office/drawing/2014/main" id="{C1AA8157-E291-D9CF-0095-2032004B0650}"/>
              </a:ext>
            </a:extLst>
          </p:cNvPr>
          <p:cNvSpPr txBox="1"/>
          <p:nvPr/>
        </p:nvSpPr>
        <p:spPr>
          <a:xfrm>
            <a:off x="3048000" y="1823357"/>
            <a:ext cx="6953250" cy="3108543"/>
          </a:xfrm>
          <a:prstGeom prst="rect">
            <a:avLst/>
          </a:prstGeom>
          <a:noFill/>
        </p:spPr>
        <p:txBody>
          <a:bodyPr wrap="square" rtlCol="0">
            <a:spAutoFit/>
          </a:bodyPr>
          <a:lstStyle/>
          <a:p>
            <a:pPr marL="285750" indent="-285750">
              <a:buFont typeface="Arial" panose="020B0604020202020204" pitchFamily="34" charset="0"/>
              <a:buChar char="•"/>
            </a:pPr>
            <a:r>
              <a:rPr kumimoji="0" lang="en-US" sz="2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CREDIT CAN IMPACT YOUR ABILITY TO:</a:t>
            </a:r>
          </a:p>
          <a:p>
            <a:pPr marL="742950" lvl="1"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rent or purchase a home</a:t>
            </a:r>
          </a:p>
          <a:p>
            <a:pPr marL="742950" lvl="1"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turn on utilities in your name</a:t>
            </a:r>
          </a:p>
          <a:p>
            <a:pPr marL="742950" lvl="1"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get and/or keep some jobs</a:t>
            </a:r>
          </a:p>
          <a:p>
            <a:pPr marL="742950" lvl="1"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open bank accounts and apply for loans and credit cards</a:t>
            </a:r>
          </a:p>
          <a:p>
            <a:pPr marL="742950" lvl="1" indent="-285750">
              <a:buFont typeface="Arial" panose="020B0604020202020204" pitchFamily="34" charset="0"/>
              <a:buChar char="•"/>
            </a:pPr>
            <a:r>
              <a:rPr lang="en-US" sz="2800" dirty="0">
                <a:solidFill>
                  <a:srgbClr val="FFFFFF"/>
                </a:solidFill>
                <a:latin typeface="Century Gothic" panose="020B0502020202020204" pitchFamily="34" charset="0"/>
              </a:rPr>
              <a:t>miscellaneous other things</a:t>
            </a:r>
          </a:p>
        </p:txBody>
      </p:sp>
    </p:spTree>
    <p:extLst>
      <p:ext uri="{BB962C8B-B14F-4D97-AF65-F5344CB8AC3E}">
        <p14:creationId xmlns:p14="http://schemas.microsoft.com/office/powerpoint/2010/main" val="84445938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Why Credit Matters</a:t>
            </a:r>
          </a:p>
        </p:txBody>
      </p:sp>
      <p:sp>
        <p:nvSpPr>
          <p:cNvPr id="5" name="TextBox 4">
            <a:extLst>
              <a:ext uri="{FF2B5EF4-FFF2-40B4-BE49-F238E27FC236}">
                <a16:creationId xmlns:a16="http://schemas.microsoft.com/office/drawing/2014/main" id="{C1AA8157-E291-D9CF-0095-2032004B0650}"/>
              </a:ext>
            </a:extLst>
          </p:cNvPr>
          <p:cNvSpPr txBox="1"/>
          <p:nvPr/>
        </p:nvSpPr>
        <p:spPr>
          <a:xfrm>
            <a:off x="3048000" y="1823357"/>
            <a:ext cx="6953250" cy="3539430"/>
          </a:xfrm>
          <a:prstGeom prst="rect">
            <a:avLst/>
          </a:prstGeom>
          <a:noFill/>
        </p:spPr>
        <p:txBody>
          <a:bodyPr wrap="square" rtlCol="0">
            <a:spAutoFit/>
          </a:bodyPr>
          <a:lstStyle/>
          <a:p>
            <a:pPr marL="285750" indent="-285750">
              <a:buFont typeface="Arial" panose="020B0604020202020204" pitchFamily="34" charset="0"/>
              <a:buChar char="•"/>
            </a:pPr>
            <a:r>
              <a:rPr kumimoji="0" lang="en-US" sz="2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CREDIT CAN IMPACT YOUR ABILITY TO:</a:t>
            </a:r>
          </a:p>
          <a:p>
            <a:pPr marL="742950" lvl="1"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rent or purchase a home</a:t>
            </a:r>
          </a:p>
          <a:p>
            <a:pPr marL="742950" lvl="1"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turn on utilities in your name</a:t>
            </a:r>
          </a:p>
          <a:p>
            <a:pPr marL="742950" lvl="1"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get and/or keep some jobs</a:t>
            </a:r>
          </a:p>
          <a:p>
            <a:pPr marL="742950" lvl="1"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open bank accounts and apply for loans and credit cards</a:t>
            </a:r>
          </a:p>
          <a:p>
            <a:pPr marL="742950" lvl="1"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miscellaneous other things</a:t>
            </a:r>
          </a:p>
          <a:p>
            <a:pPr marL="742950" lvl="1" indent="-285750">
              <a:buFont typeface="Arial" panose="020B0604020202020204" pitchFamily="34" charset="0"/>
              <a:buChar char="•"/>
            </a:pPr>
            <a:r>
              <a:rPr lang="en-US" sz="2800" dirty="0">
                <a:solidFill>
                  <a:srgbClr val="FFFFFF"/>
                </a:solidFill>
                <a:latin typeface="Century Gothic" panose="020B0502020202020204" pitchFamily="34" charset="0"/>
              </a:rPr>
              <a:t>get better interest rates</a:t>
            </a:r>
          </a:p>
        </p:txBody>
      </p:sp>
    </p:spTree>
    <p:extLst>
      <p:ext uri="{BB962C8B-B14F-4D97-AF65-F5344CB8AC3E}">
        <p14:creationId xmlns:p14="http://schemas.microsoft.com/office/powerpoint/2010/main" val="29938974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a:extLst>
              <a:ext uri="{FF2B5EF4-FFF2-40B4-BE49-F238E27FC236}">
                <a16:creationId xmlns:a16="http://schemas.microsoft.com/office/drawing/2014/main" id="{BA22CFC0-0FCE-4EDB-B318-EEA05914CA6F}"/>
              </a:ext>
            </a:extLst>
          </p:cNvPr>
          <p:cNvSpPr txBox="1">
            <a:spLocks noChangeArrowheads="1"/>
          </p:cNvSpPr>
          <p:nvPr/>
        </p:nvSpPr>
        <p:spPr>
          <a:xfrm>
            <a:off x="257177" y="3171346"/>
            <a:ext cx="2760618" cy="1251150"/>
          </a:xfrm>
          <a:prstGeom prst="rect">
            <a:avLst/>
          </a:prstGeom>
        </p:spPr>
        <p:txBody>
          <a:bodyPr vert="horz" lIns="91440" tIns="45720" rIns="91440" bIns="45720" rtlCol="0">
            <a:normAutofit fontScale="25000" lnSpcReduction="20000"/>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pPr>
            <a:r>
              <a:rPr lang="en-US" sz="12800" dirty="0">
                <a:solidFill>
                  <a:srgbClr val="FFFFFF"/>
                </a:solidFill>
                <a:latin typeface="Century Gothic" panose="020B0502020202020204" pitchFamily="34" charset="0"/>
              </a:rPr>
              <a:t>60-month, new auto loan for $25,000</a:t>
            </a:r>
            <a:r>
              <a:rPr lang="en-US" altLang="en-US" sz="12800" dirty="0">
                <a:solidFill>
                  <a:srgbClr val="FFFFFF"/>
                </a:solidFill>
                <a:latin typeface="Century Gothic" panose="020B0502020202020204" pitchFamily="34" charset="0"/>
                <a:cs typeface="Arial" panose="020B0604020202020204" pitchFamily="34" charset="0"/>
              </a:rPr>
              <a:t> </a:t>
            </a:r>
          </a:p>
          <a:p>
            <a:endParaRPr lang="en-US" altLang="en-US" sz="3000" dirty="0"/>
          </a:p>
        </p:txBody>
      </p:sp>
      <p:graphicFrame>
        <p:nvGraphicFramePr>
          <p:cNvPr id="6" name="Table 5">
            <a:extLst>
              <a:ext uri="{FF2B5EF4-FFF2-40B4-BE49-F238E27FC236}">
                <a16:creationId xmlns:a16="http://schemas.microsoft.com/office/drawing/2014/main" id="{A05D107C-9CC0-4C03-874A-5E2015527728}"/>
              </a:ext>
            </a:extLst>
          </p:cNvPr>
          <p:cNvGraphicFramePr>
            <a:graphicFrameLocks noGrp="1"/>
          </p:cNvGraphicFramePr>
          <p:nvPr>
            <p:extLst>
              <p:ext uri="{D42A27DB-BD31-4B8C-83A1-F6EECF244321}">
                <p14:modId xmlns:p14="http://schemas.microsoft.com/office/powerpoint/2010/main" val="2467916799"/>
              </p:ext>
            </p:extLst>
          </p:nvPr>
        </p:nvGraphicFramePr>
        <p:xfrm>
          <a:off x="3304237" y="1690688"/>
          <a:ext cx="8049563" cy="4212466"/>
        </p:xfrm>
        <a:graphic>
          <a:graphicData uri="http://schemas.openxmlformats.org/drawingml/2006/table">
            <a:tbl>
              <a:tblPr firstRow="1" bandRow="1">
                <a:tableStyleId>{5C22544A-7EE6-4342-B048-85BDC9FD1C3A}</a:tableStyleId>
              </a:tblPr>
              <a:tblGrid>
                <a:gridCol w="2012391">
                  <a:extLst>
                    <a:ext uri="{9D8B030D-6E8A-4147-A177-3AD203B41FA5}">
                      <a16:colId xmlns:a16="http://schemas.microsoft.com/office/drawing/2014/main" val="20000"/>
                    </a:ext>
                  </a:extLst>
                </a:gridCol>
                <a:gridCol w="2012391">
                  <a:extLst>
                    <a:ext uri="{9D8B030D-6E8A-4147-A177-3AD203B41FA5}">
                      <a16:colId xmlns:a16="http://schemas.microsoft.com/office/drawing/2014/main" val="20001"/>
                    </a:ext>
                  </a:extLst>
                </a:gridCol>
                <a:gridCol w="1889183">
                  <a:extLst>
                    <a:ext uri="{9D8B030D-6E8A-4147-A177-3AD203B41FA5}">
                      <a16:colId xmlns:a16="http://schemas.microsoft.com/office/drawing/2014/main" val="20002"/>
                    </a:ext>
                  </a:extLst>
                </a:gridCol>
                <a:gridCol w="2135598">
                  <a:extLst>
                    <a:ext uri="{9D8B030D-6E8A-4147-A177-3AD203B41FA5}">
                      <a16:colId xmlns:a16="http://schemas.microsoft.com/office/drawing/2014/main" val="20003"/>
                    </a:ext>
                  </a:extLst>
                </a:gridCol>
              </a:tblGrid>
              <a:tr h="991036">
                <a:tc>
                  <a:txBody>
                    <a:bodyPr/>
                    <a:lstStyle/>
                    <a:p>
                      <a:pPr algn="ctr"/>
                      <a:r>
                        <a:rPr lang="en-US" sz="2600" b="1" dirty="0">
                          <a:latin typeface="Century Gothic" panose="020B0502020202020204" pitchFamily="34" charset="0"/>
                          <a:cs typeface="Arial" panose="020B0604020202020204" pitchFamily="34" charset="0"/>
                        </a:rPr>
                        <a:t>FICO </a:t>
                      </a:r>
                    </a:p>
                    <a:p>
                      <a:pPr algn="ctr"/>
                      <a:r>
                        <a:rPr lang="en-US" sz="2600" b="1" dirty="0">
                          <a:latin typeface="Century Gothic" panose="020B0502020202020204" pitchFamily="34" charset="0"/>
                          <a:cs typeface="Arial" panose="020B0604020202020204" pitchFamily="34" charset="0"/>
                        </a:rPr>
                        <a:t>Score</a:t>
                      </a:r>
                    </a:p>
                  </a:txBody>
                  <a:tcPr marT="45700" marB="45700">
                    <a:solidFill>
                      <a:srgbClr val="88C240"/>
                    </a:solidFill>
                  </a:tcPr>
                </a:tc>
                <a:tc>
                  <a:txBody>
                    <a:bodyPr/>
                    <a:lstStyle/>
                    <a:p>
                      <a:pPr algn="ctr"/>
                      <a:r>
                        <a:rPr lang="en-US" sz="2600" b="1" dirty="0">
                          <a:latin typeface="Century Gothic" panose="020B0502020202020204" pitchFamily="34" charset="0"/>
                          <a:cs typeface="Arial" panose="020B0604020202020204" pitchFamily="34" charset="0"/>
                        </a:rPr>
                        <a:t>Interest Rate</a:t>
                      </a:r>
                    </a:p>
                  </a:txBody>
                  <a:tcPr marT="45700" marB="45700">
                    <a:solidFill>
                      <a:srgbClr val="88C240"/>
                    </a:solidFill>
                  </a:tcPr>
                </a:tc>
                <a:tc>
                  <a:txBody>
                    <a:bodyPr/>
                    <a:lstStyle/>
                    <a:p>
                      <a:pPr algn="ctr"/>
                      <a:r>
                        <a:rPr lang="en-US" sz="2600" b="1" dirty="0">
                          <a:latin typeface="Century Gothic" panose="020B0502020202020204" pitchFamily="34" charset="0"/>
                          <a:cs typeface="Arial" panose="020B0604020202020204" pitchFamily="34" charset="0"/>
                        </a:rPr>
                        <a:t>Monthly</a:t>
                      </a:r>
                      <a:r>
                        <a:rPr lang="en-US" sz="2600" b="1" baseline="0" dirty="0">
                          <a:latin typeface="Century Gothic" panose="020B0502020202020204" pitchFamily="34" charset="0"/>
                          <a:cs typeface="Arial" panose="020B0604020202020204" pitchFamily="34" charset="0"/>
                        </a:rPr>
                        <a:t> Payment</a:t>
                      </a:r>
                      <a:endParaRPr lang="en-US" sz="2600" b="1" dirty="0">
                        <a:latin typeface="Century Gothic" panose="020B0502020202020204" pitchFamily="34" charset="0"/>
                        <a:cs typeface="Arial" panose="020B0604020202020204" pitchFamily="34" charset="0"/>
                      </a:endParaRPr>
                    </a:p>
                  </a:txBody>
                  <a:tcPr marT="45700" marB="45700">
                    <a:solidFill>
                      <a:srgbClr val="88C240"/>
                    </a:solidFill>
                  </a:tcPr>
                </a:tc>
                <a:tc>
                  <a:txBody>
                    <a:bodyPr/>
                    <a:lstStyle/>
                    <a:p>
                      <a:pPr algn="ctr"/>
                      <a:r>
                        <a:rPr lang="en-US" sz="2600" b="1" dirty="0">
                          <a:latin typeface="Century Gothic" panose="020B0502020202020204" pitchFamily="34" charset="0"/>
                          <a:cs typeface="Arial" panose="020B0604020202020204" pitchFamily="34" charset="0"/>
                        </a:rPr>
                        <a:t>Total Interest Paid</a:t>
                      </a:r>
                    </a:p>
                  </a:txBody>
                  <a:tcPr marT="45700" marB="45700">
                    <a:solidFill>
                      <a:srgbClr val="88C240"/>
                    </a:solidFill>
                  </a:tcPr>
                </a:tc>
                <a:extLst>
                  <a:ext uri="{0D108BD9-81ED-4DB2-BD59-A6C34878D82A}">
                    <a16:rowId xmlns:a16="http://schemas.microsoft.com/office/drawing/2014/main" val="10000"/>
                  </a:ext>
                </a:extLst>
              </a:tr>
              <a:tr h="468976">
                <a:tc>
                  <a:txBody>
                    <a:bodyPr/>
                    <a:lstStyle/>
                    <a:p>
                      <a:pPr algn="ctr"/>
                      <a:r>
                        <a:rPr lang="en-US" sz="2600" b="1" dirty="0">
                          <a:latin typeface="Century Gothic" panose="020B0502020202020204" pitchFamily="34" charset="0"/>
                          <a:cs typeface="Arial" panose="020B0604020202020204" pitchFamily="34" charset="0"/>
                        </a:rPr>
                        <a:t>720-850</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7.606%</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502</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5,133</a:t>
                      </a:r>
                    </a:p>
                  </a:txBody>
                  <a:tcPr marT="45700" marB="45700"/>
                </a:tc>
                <a:extLst>
                  <a:ext uri="{0D108BD9-81ED-4DB2-BD59-A6C34878D82A}">
                    <a16:rowId xmlns:a16="http://schemas.microsoft.com/office/drawing/2014/main" val="10001"/>
                  </a:ext>
                </a:extLst>
              </a:tr>
              <a:tr h="546758">
                <a:tc>
                  <a:txBody>
                    <a:bodyPr/>
                    <a:lstStyle/>
                    <a:p>
                      <a:pPr algn="ctr"/>
                      <a:r>
                        <a:rPr lang="en-US" sz="2600" b="1" dirty="0">
                          <a:latin typeface="Century Gothic" panose="020B0502020202020204" pitchFamily="34" charset="0"/>
                          <a:cs typeface="Arial" panose="020B0604020202020204" pitchFamily="34" charset="0"/>
                        </a:rPr>
                        <a:t>690-719</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8.709%</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515</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5,926</a:t>
                      </a:r>
                    </a:p>
                  </a:txBody>
                  <a:tcPr marT="45700" marB="45700"/>
                </a:tc>
                <a:extLst>
                  <a:ext uri="{0D108BD9-81ED-4DB2-BD59-A6C34878D82A}">
                    <a16:rowId xmlns:a16="http://schemas.microsoft.com/office/drawing/2014/main" val="10002"/>
                  </a:ext>
                </a:extLst>
              </a:tr>
              <a:tr h="546758">
                <a:tc>
                  <a:txBody>
                    <a:bodyPr/>
                    <a:lstStyle/>
                    <a:p>
                      <a:pPr algn="ctr"/>
                      <a:r>
                        <a:rPr lang="en-US" sz="2600" b="1" dirty="0">
                          <a:latin typeface="Century Gothic" panose="020B0502020202020204" pitchFamily="34" charset="0"/>
                          <a:cs typeface="Arial" panose="020B0604020202020204" pitchFamily="34" charset="0"/>
                        </a:rPr>
                        <a:t>660-689</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10.457%</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537</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7,209</a:t>
                      </a:r>
                    </a:p>
                  </a:txBody>
                  <a:tcPr marT="45700" marB="45700"/>
                </a:tc>
                <a:extLst>
                  <a:ext uri="{0D108BD9-81ED-4DB2-BD59-A6C34878D82A}">
                    <a16:rowId xmlns:a16="http://schemas.microsoft.com/office/drawing/2014/main" val="10003"/>
                  </a:ext>
                </a:extLst>
              </a:tr>
              <a:tr h="546758">
                <a:tc>
                  <a:txBody>
                    <a:bodyPr/>
                    <a:lstStyle/>
                    <a:p>
                      <a:pPr algn="ctr"/>
                      <a:r>
                        <a:rPr lang="en-US" sz="2600" b="1" dirty="0">
                          <a:latin typeface="Century Gothic" panose="020B0502020202020204" pitchFamily="34" charset="0"/>
                          <a:cs typeface="Arial" panose="020B0604020202020204" pitchFamily="34" charset="0"/>
                        </a:rPr>
                        <a:t>620-659</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12.658%</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564</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8,868</a:t>
                      </a:r>
                    </a:p>
                  </a:txBody>
                  <a:tcPr marT="45700" marB="45700"/>
                </a:tc>
                <a:extLst>
                  <a:ext uri="{0D108BD9-81ED-4DB2-BD59-A6C34878D82A}">
                    <a16:rowId xmlns:a16="http://schemas.microsoft.com/office/drawing/2014/main" val="10004"/>
                  </a:ext>
                </a:extLst>
              </a:tr>
              <a:tr h="546758">
                <a:tc>
                  <a:txBody>
                    <a:bodyPr/>
                    <a:lstStyle/>
                    <a:p>
                      <a:pPr algn="ctr"/>
                      <a:r>
                        <a:rPr lang="en-US" sz="2600" b="1" dirty="0">
                          <a:latin typeface="Century Gothic" panose="020B0502020202020204" pitchFamily="34" charset="0"/>
                          <a:cs typeface="Arial" panose="020B0604020202020204" pitchFamily="34" charset="0"/>
                        </a:rPr>
                        <a:t>590-619</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16.845%</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619</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12,154</a:t>
                      </a:r>
                    </a:p>
                  </a:txBody>
                  <a:tcPr marT="45700" marB="45700"/>
                </a:tc>
                <a:extLst>
                  <a:ext uri="{0D108BD9-81ED-4DB2-BD59-A6C34878D82A}">
                    <a16:rowId xmlns:a16="http://schemas.microsoft.com/office/drawing/2014/main" val="10005"/>
                  </a:ext>
                </a:extLst>
              </a:tr>
              <a:tr h="546758">
                <a:tc>
                  <a:txBody>
                    <a:bodyPr/>
                    <a:lstStyle/>
                    <a:p>
                      <a:pPr algn="ctr"/>
                      <a:r>
                        <a:rPr lang="en-US" sz="2600" b="1" dirty="0">
                          <a:latin typeface="Century Gothic" panose="020B0502020202020204" pitchFamily="34" charset="0"/>
                          <a:cs typeface="Arial" panose="020B0604020202020204" pitchFamily="34" charset="0"/>
                        </a:rPr>
                        <a:t>500-589</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17.568%</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629</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12,739</a:t>
                      </a:r>
                    </a:p>
                  </a:txBody>
                  <a:tcPr marT="45700" marB="45700"/>
                </a:tc>
                <a:extLst>
                  <a:ext uri="{0D108BD9-81ED-4DB2-BD59-A6C34878D82A}">
                    <a16:rowId xmlns:a16="http://schemas.microsoft.com/office/drawing/2014/main" val="10006"/>
                  </a:ext>
                </a:extLst>
              </a:tr>
            </a:tbl>
          </a:graphicData>
        </a:graphic>
      </p:graphicFrame>
      <p:sp>
        <p:nvSpPr>
          <p:cNvPr id="7" name="TextBox 6">
            <a:extLst>
              <a:ext uri="{FF2B5EF4-FFF2-40B4-BE49-F238E27FC236}">
                <a16:creationId xmlns:a16="http://schemas.microsoft.com/office/drawing/2014/main" id="{CE073219-166E-42B3-90FC-CAF1BCDE5FDD}"/>
              </a:ext>
            </a:extLst>
          </p:cNvPr>
          <p:cNvSpPr txBox="1"/>
          <p:nvPr/>
        </p:nvSpPr>
        <p:spPr>
          <a:xfrm>
            <a:off x="0" y="6277728"/>
            <a:ext cx="12192000" cy="369332"/>
          </a:xfrm>
          <a:prstGeom prst="rect">
            <a:avLst/>
          </a:prstGeom>
          <a:noFill/>
        </p:spPr>
        <p:txBody>
          <a:bodyPr wrap="square" rtlCol="0">
            <a:spAutoFit/>
          </a:bodyPr>
          <a:lstStyle/>
          <a:p>
            <a:pPr algn="ctr"/>
            <a:r>
              <a:rPr lang="en-US" altLang="en-US" i="1" dirty="0">
                <a:solidFill>
                  <a:srgbClr val="FFFFFF"/>
                </a:solidFill>
                <a:latin typeface="Century Gothic" panose="020B0502020202020204" pitchFamily="34" charset="0"/>
                <a:cs typeface="Arial" panose="020B0604020202020204" pitchFamily="34" charset="0"/>
              </a:rPr>
              <a:t>Source: https://www.myfico.com/credit-education/calculators/loan-savings-calculator/ </a:t>
            </a:r>
          </a:p>
        </p:txBody>
      </p:sp>
      <p:sp>
        <p:nvSpPr>
          <p:cNvPr id="8" name="Rectangle 7">
            <a:extLst>
              <a:ext uri="{FF2B5EF4-FFF2-40B4-BE49-F238E27FC236}">
                <a16:creationId xmlns:a16="http://schemas.microsoft.com/office/drawing/2014/main" id="{03DA3055-421B-178A-1B6A-C8CBA1FF8DAD}"/>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9" name="TextBox 8">
            <a:extLst>
              <a:ext uri="{FF2B5EF4-FFF2-40B4-BE49-F238E27FC236}">
                <a16:creationId xmlns:a16="http://schemas.microsoft.com/office/drawing/2014/main" id="{4EDB4182-BDAA-5A4D-0340-69456B2FD0D5}"/>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Why Credit Matters</a:t>
            </a:r>
          </a:p>
        </p:txBody>
      </p:sp>
    </p:spTree>
    <p:extLst>
      <p:ext uri="{BB962C8B-B14F-4D97-AF65-F5344CB8AC3E}">
        <p14:creationId xmlns:p14="http://schemas.microsoft.com/office/powerpoint/2010/main" val="15339190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0528419" y="341832"/>
            <a:ext cx="1663581" cy="13416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Light"/>
              <a:ea typeface="+mn-ea"/>
              <a:cs typeface="+mn-cs"/>
            </a:endParaRPr>
          </a:p>
        </p:txBody>
      </p:sp>
      <p:sp>
        <p:nvSpPr>
          <p:cNvPr id="9" name="Text Placeholder 8">
            <a:extLst>
              <a:ext uri="{FF2B5EF4-FFF2-40B4-BE49-F238E27FC236}">
                <a16:creationId xmlns:a16="http://schemas.microsoft.com/office/drawing/2014/main" id="{03282308-968D-984F-8466-3EB6FFBF78E0}"/>
              </a:ext>
            </a:extLst>
          </p:cNvPr>
          <p:cNvSpPr>
            <a:spLocks noGrp="1"/>
          </p:cNvSpPr>
          <p:nvPr>
            <p:ph type="body" sz="quarter" idx="12"/>
          </p:nvPr>
        </p:nvSpPr>
        <p:spPr>
          <a:xfrm>
            <a:off x="610082" y="644688"/>
            <a:ext cx="4215918" cy="732144"/>
          </a:xfrm>
        </p:spPr>
        <p:txBody>
          <a:bodyPr>
            <a:normAutofit lnSpcReduction="10000"/>
          </a:bodyPr>
          <a:lstStyle/>
          <a:p>
            <a:r>
              <a:rPr lang="en-US"/>
              <a:t>Who is </a:t>
            </a:r>
            <a:r>
              <a:rPr lang="en-US">
                <a:solidFill>
                  <a:srgbClr val="8C2332"/>
                </a:solidFill>
              </a:rPr>
              <a:t>HUECU?</a:t>
            </a:r>
          </a:p>
        </p:txBody>
      </p:sp>
      <p:sp>
        <p:nvSpPr>
          <p:cNvPr id="10" name="Text Placeholder 9">
            <a:extLst>
              <a:ext uri="{FF2B5EF4-FFF2-40B4-BE49-F238E27FC236}">
                <a16:creationId xmlns:a16="http://schemas.microsoft.com/office/drawing/2014/main" id="{CEE927AD-8557-AC45-8B7E-6D8A8AB36B16}"/>
              </a:ext>
            </a:extLst>
          </p:cNvPr>
          <p:cNvSpPr>
            <a:spLocks noGrp="1"/>
          </p:cNvSpPr>
          <p:nvPr>
            <p:ph type="body" sz="quarter" idx="14"/>
          </p:nvPr>
        </p:nvSpPr>
        <p:spPr>
          <a:xfrm>
            <a:off x="610080" y="1809060"/>
            <a:ext cx="3994812" cy="641201"/>
          </a:xfrm>
        </p:spPr>
        <p:txBody>
          <a:bodyPr tIns="0" anchor="t" anchorCtr="0">
            <a:spAutoFit/>
          </a:bodyPr>
          <a:lstStyle/>
          <a:p>
            <a:pPr>
              <a:lnSpc>
                <a:spcPct val="125000"/>
              </a:lnSpc>
            </a:pPr>
            <a:r>
              <a:rPr lang="en-US" sz="1600">
                <a:latin typeface="Klinic Slab Medium" pitchFamily="50" charset="0"/>
              </a:rPr>
              <a:t>Since 1939, HUECU offers a variety of quality financial services to the Harvard community.</a:t>
            </a:r>
          </a:p>
        </p:txBody>
      </p:sp>
      <p:pic>
        <p:nvPicPr>
          <p:cNvPr id="20" name="Picture Placeholder 19" descr="A picture containing person, building, man, front&#10;&#10;Description automatically generated">
            <a:extLst>
              <a:ext uri="{FF2B5EF4-FFF2-40B4-BE49-F238E27FC236}">
                <a16:creationId xmlns:a16="http://schemas.microsoft.com/office/drawing/2014/main" id="{8BB9E3CB-FFE5-4428-8AC2-6A6A5A6FA2CB}"/>
              </a:ext>
            </a:extLst>
          </p:cNvPr>
          <p:cNvPicPr>
            <a:picLocks noGrp="1" noChangeAspect="1"/>
          </p:cNvPicPr>
          <p:nvPr>
            <p:ph type="pic" sz="quarter" idx="28"/>
          </p:nvPr>
        </p:nvPicPr>
        <p:blipFill rotWithShape="1">
          <a:blip r:embed="rId3"/>
          <a:srcRect l="19519" t="16211" r="13374" b="22514"/>
          <a:stretch/>
        </p:blipFill>
        <p:spPr>
          <a:xfrm>
            <a:off x="0" y="2773427"/>
            <a:ext cx="5334001" cy="4084573"/>
          </a:xfrm>
        </p:spPr>
      </p:pic>
      <p:grpSp>
        <p:nvGrpSpPr>
          <p:cNvPr id="2" name="Group 1">
            <a:extLst>
              <a:ext uri="{FF2B5EF4-FFF2-40B4-BE49-F238E27FC236}">
                <a16:creationId xmlns:a16="http://schemas.microsoft.com/office/drawing/2014/main" id="{8A74D73C-0C6B-424F-8C62-508C32254269}"/>
              </a:ext>
            </a:extLst>
          </p:cNvPr>
          <p:cNvGrpSpPr/>
          <p:nvPr/>
        </p:nvGrpSpPr>
        <p:grpSpPr>
          <a:xfrm>
            <a:off x="6661466" y="599453"/>
            <a:ext cx="4451238" cy="1212636"/>
            <a:chOff x="6924762" y="613006"/>
            <a:chExt cx="3880390" cy="1212636"/>
          </a:xfrm>
        </p:grpSpPr>
        <p:sp>
          <p:nvSpPr>
            <p:cNvPr id="40" name="Text Placeholder 11">
              <a:extLst>
                <a:ext uri="{FF2B5EF4-FFF2-40B4-BE49-F238E27FC236}">
                  <a16:creationId xmlns:a16="http://schemas.microsoft.com/office/drawing/2014/main" id="{F2A9690A-A926-40FC-89FB-7E16B54FDA16}"/>
                </a:ext>
              </a:extLst>
            </p:cNvPr>
            <p:cNvSpPr txBox="1">
              <a:spLocks/>
            </p:cNvSpPr>
            <p:nvPr/>
          </p:nvSpPr>
          <p:spPr>
            <a:xfrm>
              <a:off x="6924762" y="613006"/>
              <a:ext cx="3667767" cy="369332"/>
            </a:xfrm>
            <a:prstGeom prst="rect">
              <a:avLst/>
            </a:prstGeom>
          </p:spPr>
          <p:txBody>
            <a:bodyPr>
              <a:spAutoFit/>
            </a:bodyPr>
            <a:lstStyle>
              <a:lvl1pPr marL="0" indent="0" algn="l" defTabSz="914377" rtl="0" eaLnBrk="1" latinLnBrk="0" hangingPunct="1">
                <a:lnSpc>
                  <a:spcPct val="100000"/>
                </a:lnSpc>
                <a:spcBef>
                  <a:spcPts val="1000"/>
                </a:spcBef>
                <a:buFont typeface="Arial" panose="020B0604020202020204" pitchFamily="34" charset="0"/>
                <a:buNone/>
                <a:defRPr sz="1600" b="1" i="0" kern="120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prstClr val="black"/>
                  </a:solidFill>
                  <a:effectLst/>
                  <a:uLnTx/>
                  <a:uFillTx/>
                  <a:latin typeface="Gilroy Bold" panose="00000800000000000000" pitchFamily="50" charset="0"/>
                  <a:ea typeface="Open Sans" panose="020B0606030504020204" pitchFamily="34" charset="0"/>
                  <a:cs typeface="Poppins SemiBold" panose="02000000000000000000" pitchFamily="2" charset="77"/>
                </a:rPr>
                <a:t>Better </a:t>
              </a:r>
              <a:r>
                <a:rPr kumimoji="0" lang="en-US" sz="1800" b="1" i="0" u="none" strike="noStrike" kern="1200" cap="none" spc="0" normalizeH="0" baseline="0" noProof="0">
                  <a:ln>
                    <a:noFill/>
                  </a:ln>
                  <a:solidFill>
                    <a:srgbClr val="8C2332"/>
                  </a:solidFill>
                  <a:effectLst/>
                  <a:uLnTx/>
                  <a:uFillTx/>
                  <a:latin typeface="Gilroy Bold" panose="00000800000000000000" pitchFamily="50" charset="0"/>
                  <a:ea typeface="Open Sans" panose="020B0606030504020204" pitchFamily="34" charset="0"/>
                  <a:cs typeface="Poppins SemiBold" panose="02000000000000000000" pitchFamily="2" charset="77"/>
                </a:rPr>
                <a:t>Value</a:t>
              </a:r>
            </a:p>
          </p:txBody>
        </p:sp>
        <p:sp>
          <p:nvSpPr>
            <p:cNvPr id="39" name="Text Placeholder 10">
              <a:extLst>
                <a:ext uri="{FF2B5EF4-FFF2-40B4-BE49-F238E27FC236}">
                  <a16:creationId xmlns:a16="http://schemas.microsoft.com/office/drawing/2014/main" id="{AFE82D45-654E-4274-8E5F-DCA4905D6339}"/>
                </a:ext>
              </a:extLst>
            </p:cNvPr>
            <p:cNvSpPr txBox="1">
              <a:spLocks/>
            </p:cNvSpPr>
            <p:nvPr/>
          </p:nvSpPr>
          <p:spPr>
            <a:xfrm>
              <a:off x="6924764" y="994004"/>
              <a:ext cx="3880388" cy="831638"/>
            </a:xfrm>
            <a:prstGeom prst="rect">
              <a:avLst/>
            </a:prstGeom>
          </p:spPr>
          <p:txBody>
            <a:bodyPr tIns="0">
              <a:spAutoFit/>
            </a:bodyPr>
            <a:lstStyle>
              <a:lvl1pPr marL="0" indent="0" algn="l" defTabSz="914377" rtl="0" eaLnBrk="1" latinLnBrk="0" hangingPunct="1">
                <a:lnSpc>
                  <a:spcPct val="150000"/>
                </a:lnSpc>
                <a:spcBef>
                  <a:spcPts val="1000"/>
                </a:spcBef>
                <a:buFont typeface="Arial" panose="020B0604020202020204" pitchFamily="34" charset="0"/>
                <a:buNone/>
                <a:defRPr sz="1200" b="0" i="0" kern="120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25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44546A">
                      <a:lumMod val="75000"/>
                    </a:srgbClr>
                  </a:solidFill>
                  <a:effectLst/>
                  <a:uLnTx/>
                  <a:uFillTx/>
                  <a:latin typeface="Klinic Slab Book" pitchFamily="50" charset="0"/>
                  <a:ea typeface="Open Sans" panose="020B0606030504020204" pitchFamily="34" charset="0"/>
                  <a:cs typeface="Open Sans" panose="020B0606030504020204" pitchFamily="34" charset="0"/>
                </a:rPr>
                <a:t>As a not-for-profit, HUECU puts members first in the form of better rates on savings and loans, lower &amp; fewer fees, and more free services and perks. </a:t>
              </a:r>
            </a:p>
          </p:txBody>
        </p:sp>
      </p:grpSp>
      <p:grpSp>
        <p:nvGrpSpPr>
          <p:cNvPr id="3" name="Group 2">
            <a:extLst>
              <a:ext uri="{FF2B5EF4-FFF2-40B4-BE49-F238E27FC236}">
                <a16:creationId xmlns:a16="http://schemas.microsoft.com/office/drawing/2014/main" id="{8B331BA3-3BA9-4122-8AA3-5597FF7C47A1}"/>
              </a:ext>
            </a:extLst>
          </p:cNvPr>
          <p:cNvGrpSpPr/>
          <p:nvPr/>
        </p:nvGrpSpPr>
        <p:grpSpPr>
          <a:xfrm>
            <a:off x="6661466" y="2157440"/>
            <a:ext cx="4451238" cy="1254439"/>
            <a:chOff x="6924762" y="2121373"/>
            <a:chExt cx="3880390" cy="1254439"/>
          </a:xfrm>
        </p:grpSpPr>
        <p:sp>
          <p:nvSpPr>
            <p:cNvPr id="41" name="Text Placeholder 12">
              <a:extLst>
                <a:ext uri="{FF2B5EF4-FFF2-40B4-BE49-F238E27FC236}">
                  <a16:creationId xmlns:a16="http://schemas.microsoft.com/office/drawing/2014/main" id="{15A6BEEC-BF36-49E5-8AFD-4F220B486EBC}"/>
                </a:ext>
              </a:extLst>
            </p:cNvPr>
            <p:cNvSpPr txBox="1">
              <a:spLocks/>
            </p:cNvSpPr>
            <p:nvPr/>
          </p:nvSpPr>
          <p:spPr>
            <a:xfrm>
              <a:off x="6924764" y="2485438"/>
              <a:ext cx="3880388" cy="890374"/>
            </a:xfrm>
            <a:prstGeom prst="rect">
              <a:avLst/>
            </a:prstGeom>
          </p:spPr>
          <p:txBody>
            <a:bodyPr tIns="0">
              <a:spAutoFit/>
            </a:bodyPr>
            <a:lstStyle>
              <a:defPPr>
                <a:defRPr lang="en-US"/>
              </a:defPPr>
              <a:lvl1pPr indent="0" defTabSz="914377">
                <a:lnSpc>
                  <a:spcPct val="125000"/>
                </a:lnSpc>
                <a:spcBef>
                  <a:spcPts val="1000"/>
                </a:spcBef>
                <a:buFont typeface="Arial" panose="020B0604020202020204" pitchFamily="34" charset="0"/>
                <a:buNone/>
                <a:defRPr sz="1400" b="0" i="0">
                  <a:solidFill>
                    <a:schemeClr val="tx2">
                      <a:lumMod val="75000"/>
                    </a:schemeClr>
                  </a:solidFill>
                  <a:latin typeface="Klinic Slab Book" pitchFamily="50" charset="0"/>
                  <a:ea typeface="Open Sans" panose="020B0606030504020204" pitchFamily="34" charset="0"/>
                  <a:cs typeface="Open Sans" panose="020B0606030504020204" pitchFamily="34" charset="0"/>
                </a:defRPr>
              </a:lvl1pPr>
              <a:lvl2pPr marL="685783" indent="-228594" defTabSz="914377">
                <a:lnSpc>
                  <a:spcPct val="90000"/>
                </a:lnSpc>
                <a:spcBef>
                  <a:spcPts val="500"/>
                </a:spcBef>
                <a:buFont typeface="Arial" panose="020B0604020202020204" pitchFamily="34" charset="0"/>
                <a:buChar char="•"/>
                <a:defRPr sz="2400"/>
              </a:lvl2pPr>
              <a:lvl3pPr marL="1142971" indent="-228594" defTabSz="914377">
                <a:lnSpc>
                  <a:spcPct val="90000"/>
                </a:lnSpc>
                <a:spcBef>
                  <a:spcPts val="500"/>
                </a:spcBef>
                <a:buFont typeface="Arial" panose="020B0604020202020204" pitchFamily="34" charset="0"/>
                <a:buChar char="•"/>
                <a:defRPr sz="2000"/>
              </a:lvl3pPr>
              <a:lvl4pPr marL="1600160" indent="-228594" defTabSz="914377">
                <a:lnSpc>
                  <a:spcPct val="90000"/>
                </a:lnSpc>
                <a:spcBef>
                  <a:spcPts val="500"/>
                </a:spcBef>
                <a:buFont typeface="Arial" panose="020B0604020202020204" pitchFamily="34" charset="0"/>
                <a:buChar char="•"/>
              </a:lvl4pPr>
              <a:lvl5pPr marL="2057349" indent="-228594" defTabSz="914377">
                <a:lnSpc>
                  <a:spcPct val="90000"/>
                </a:lnSpc>
                <a:spcBef>
                  <a:spcPts val="500"/>
                </a:spcBef>
                <a:buFont typeface="Arial" panose="020B0604020202020204" pitchFamily="34" charset="0"/>
                <a:buChar char="•"/>
              </a:lvl5pPr>
              <a:lvl6pPr marL="2514537" indent="-228594" defTabSz="914377">
                <a:lnSpc>
                  <a:spcPct val="90000"/>
                </a:lnSpc>
                <a:spcBef>
                  <a:spcPts val="500"/>
                </a:spcBef>
                <a:buFont typeface="Arial" panose="020B0604020202020204" pitchFamily="34" charset="0"/>
                <a:buChar char="•"/>
              </a:lvl6pPr>
              <a:lvl7pPr marL="2971726" indent="-228594" defTabSz="914377">
                <a:lnSpc>
                  <a:spcPct val="90000"/>
                </a:lnSpc>
                <a:spcBef>
                  <a:spcPts val="500"/>
                </a:spcBef>
                <a:buFont typeface="Arial" panose="020B0604020202020204" pitchFamily="34" charset="0"/>
                <a:buChar char="•"/>
              </a:lvl7pPr>
              <a:lvl8pPr marL="3428914" indent="-228594" defTabSz="914377">
                <a:lnSpc>
                  <a:spcPct val="90000"/>
                </a:lnSpc>
                <a:spcBef>
                  <a:spcPts val="500"/>
                </a:spcBef>
                <a:buFont typeface="Arial" panose="020B0604020202020204" pitchFamily="34" charset="0"/>
                <a:buChar char="•"/>
              </a:lvl8pPr>
              <a:lvl9pPr marL="3886103" indent="-228594" defTabSz="914377">
                <a:lnSpc>
                  <a:spcPct val="90000"/>
                </a:lnSpc>
                <a:spcBef>
                  <a:spcPts val="500"/>
                </a:spcBef>
                <a:buFont typeface="Arial" panose="020B0604020202020204" pitchFamily="34" charset="0"/>
                <a:buChar char="•"/>
              </a:lvl9pPr>
            </a:lstStyle>
            <a:p>
              <a:pPr marL="0" marR="0" lvl="0" indent="0" algn="l" defTabSz="914377" rtl="0" eaLnBrk="1" fontAlgn="auto" latinLnBrk="0" hangingPunct="1">
                <a:lnSpc>
                  <a:spcPct val="125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44546A">
                      <a:lumMod val="75000"/>
                    </a:srgbClr>
                  </a:solidFill>
                  <a:effectLst/>
                  <a:uLnTx/>
                  <a:uFillTx/>
                  <a:latin typeface="Klinic Slab Book" pitchFamily="50" charset="0"/>
                  <a:ea typeface="Open Sans" panose="020B0606030504020204" pitchFamily="34" charset="0"/>
                  <a:cs typeface="Open Sans" panose="020B0606030504020204" pitchFamily="34" charset="0"/>
                </a:rPr>
                <a:t>Credit unions consistently outperform banks in metrics of customer service and satisfaction. You have a name not just an account number here. </a:t>
              </a:r>
            </a:p>
          </p:txBody>
        </p:sp>
        <p:sp>
          <p:nvSpPr>
            <p:cNvPr id="42" name="Text Placeholder 13">
              <a:extLst>
                <a:ext uri="{FF2B5EF4-FFF2-40B4-BE49-F238E27FC236}">
                  <a16:creationId xmlns:a16="http://schemas.microsoft.com/office/drawing/2014/main" id="{6B9E3C38-0DC5-4001-A800-87CF5B4A9B67}"/>
                </a:ext>
              </a:extLst>
            </p:cNvPr>
            <p:cNvSpPr txBox="1">
              <a:spLocks/>
            </p:cNvSpPr>
            <p:nvPr/>
          </p:nvSpPr>
          <p:spPr>
            <a:xfrm>
              <a:off x="6924762" y="2121373"/>
              <a:ext cx="3667767" cy="369332"/>
            </a:xfrm>
            <a:prstGeom prst="rect">
              <a:avLst/>
            </a:prstGeom>
          </p:spPr>
          <p:txBody>
            <a:bodyPr>
              <a:spAutoFit/>
            </a:bodyPr>
            <a:lstStyle>
              <a:lvl1pPr marL="0" indent="0" algn="l" defTabSz="914377" rtl="0" eaLnBrk="1" latinLnBrk="0" hangingPunct="1">
                <a:lnSpc>
                  <a:spcPct val="100000"/>
                </a:lnSpc>
                <a:spcBef>
                  <a:spcPts val="1000"/>
                </a:spcBef>
                <a:buFont typeface="Arial" panose="020B0604020202020204" pitchFamily="34" charset="0"/>
                <a:buNone/>
                <a:defRPr sz="1600" b="1" i="0" kern="120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a:ln>
                    <a:noFill/>
                  </a:ln>
                  <a:solidFill>
                    <a:prstClr val="black"/>
                  </a:solidFill>
                  <a:effectLst/>
                  <a:uLnTx/>
                  <a:uFillTx/>
                  <a:latin typeface="Gilroy Bold" panose="00000800000000000000" pitchFamily="50" charset="0"/>
                  <a:ea typeface="Open Sans" panose="020B0606030504020204" pitchFamily="34" charset="0"/>
                </a:rPr>
                <a:t>Better </a:t>
              </a:r>
              <a:r>
                <a:rPr kumimoji="0" lang="en-US" sz="1800" b="1" i="0" u="none" strike="noStrike" kern="1200" cap="none" spc="0" normalizeH="0" baseline="0" noProof="0">
                  <a:ln>
                    <a:noFill/>
                  </a:ln>
                  <a:solidFill>
                    <a:srgbClr val="8C2332"/>
                  </a:solidFill>
                  <a:effectLst/>
                  <a:uLnTx/>
                  <a:uFillTx/>
                  <a:latin typeface="Gilroy Bold" panose="00000800000000000000" pitchFamily="50" charset="0"/>
                  <a:ea typeface="Open Sans" panose="020B0606030504020204" pitchFamily="34" charset="0"/>
                </a:rPr>
                <a:t>Service</a:t>
              </a:r>
            </a:p>
          </p:txBody>
        </p:sp>
      </p:grpSp>
      <p:grpSp>
        <p:nvGrpSpPr>
          <p:cNvPr id="4" name="Group 3">
            <a:extLst>
              <a:ext uri="{FF2B5EF4-FFF2-40B4-BE49-F238E27FC236}">
                <a16:creationId xmlns:a16="http://schemas.microsoft.com/office/drawing/2014/main" id="{A33EFC7F-8568-413A-ACCB-BEEC5F0E8B84}"/>
              </a:ext>
            </a:extLst>
          </p:cNvPr>
          <p:cNvGrpSpPr/>
          <p:nvPr/>
        </p:nvGrpSpPr>
        <p:grpSpPr>
          <a:xfrm>
            <a:off x="6661467" y="3715427"/>
            <a:ext cx="4451236" cy="932791"/>
            <a:chOff x="6924764" y="3588697"/>
            <a:chExt cx="3880388" cy="932791"/>
          </a:xfrm>
        </p:grpSpPr>
        <p:sp>
          <p:nvSpPr>
            <p:cNvPr id="43" name="Text Placeholder 12">
              <a:extLst>
                <a:ext uri="{FF2B5EF4-FFF2-40B4-BE49-F238E27FC236}">
                  <a16:creationId xmlns:a16="http://schemas.microsoft.com/office/drawing/2014/main" id="{FF3814FA-A054-49DC-B266-F3330F5952E6}"/>
                </a:ext>
              </a:extLst>
            </p:cNvPr>
            <p:cNvSpPr txBox="1">
              <a:spLocks/>
            </p:cNvSpPr>
            <p:nvPr/>
          </p:nvSpPr>
          <p:spPr>
            <a:xfrm>
              <a:off x="6924764" y="3959155"/>
              <a:ext cx="3880388" cy="562333"/>
            </a:xfrm>
            <a:prstGeom prst="rect">
              <a:avLst/>
            </a:prstGeom>
          </p:spPr>
          <p:txBody>
            <a:bodyPr tIns="0">
              <a:spAutoFit/>
            </a:bodyPr>
            <a:lstStyle>
              <a:lvl1pPr marL="0" indent="0" algn="l" defTabSz="914377" rtl="0" eaLnBrk="1" latinLnBrk="0" hangingPunct="1">
                <a:lnSpc>
                  <a:spcPct val="150000"/>
                </a:lnSpc>
                <a:spcBef>
                  <a:spcPts val="1000"/>
                </a:spcBef>
                <a:buFont typeface="Arial" panose="020B0604020202020204" pitchFamily="34" charset="0"/>
                <a:buNone/>
                <a:defRPr sz="1200" b="0" i="0" kern="120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25000"/>
                </a:lnSpc>
                <a:spcBef>
                  <a:spcPts val="1000"/>
                </a:spcBef>
                <a:spcAft>
                  <a:spcPts val="0"/>
                </a:spcAft>
                <a:buClrTx/>
                <a:buSzTx/>
                <a:buFont typeface="Arial" panose="020B0604020202020204" pitchFamily="34" charset="0"/>
                <a:buNone/>
                <a:tabLst/>
                <a:defRPr/>
              </a:pPr>
              <a:r>
                <a:rPr kumimoji="0" lang="en-ID" sz="1400" b="0" i="0" u="none" strike="noStrike" kern="1200" cap="none" spc="0" normalizeH="0" baseline="0" noProof="0" dirty="0">
                  <a:ln>
                    <a:noFill/>
                  </a:ln>
                  <a:solidFill>
                    <a:srgbClr val="44546A">
                      <a:lumMod val="75000"/>
                    </a:srgbClr>
                  </a:solidFill>
                  <a:effectLst/>
                  <a:uLnTx/>
                  <a:uFillTx/>
                  <a:latin typeface="Klinic Slab Book" pitchFamily="50" charset="0"/>
                  <a:ea typeface="Open Sans" panose="020B0606030504020204" pitchFamily="34" charset="0"/>
                  <a:cs typeface="Open Sans" panose="020B0606030504020204" pitchFamily="34" charset="0"/>
                </a:rPr>
                <a:t>The member controlled co-op model is always focused on operating in the best interests of our members. </a:t>
              </a:r>
              <a:endParaRPr kumimoji="0" lang="en-US" sz="1400" b="0" i="0" u="none" strike="noStrike" kern="1200" cap="none" spc="0" normalizeH="0" baseline="0" noProof="0" dirty="0">
                <a:ln>
                  <a:noFill/>
                </a:ln>
                <a:solidFill>
                  <a:srgbClr val="44546A">
                    <a:lumMod val="75000"/>
                  </a:srgbClr>
                </a:solidFill>
                <a:effectLst/>
                <a:uLnTx/>
                <a:uFillTx/>
                <a:latin typeface="Klinic Slab Book" pitchFamily="50" charset="0"/>
                <a:ea typeface="Open Sans" panose="020B0606030504020204" pitchFamily="34" charset="0"/>
                <a:cs typeface="Open Sans" panose="020B0606030504020204" pitchFamily="34" charset="0"/>
              </a:endParaRPr>
            </a:p>
          </p:txBody>
        </p:sp>
        <p:sp>
          <p:nvSpPr>
            <p:cNvPr id="44" name="Text Placeholder 13">
              <a:extLst>
                <a:ext uri="{FF2B5EF4-FFF2-40B4-BE49-F238E27FC236}">
                  <a16:creationId xmlns:a16="http://schemas.microsoft.com/office/drawing/2014/main" id="{AF9A5539-BCE0-4B37-B6AE-AFB376BD9F37}"/>
                </a:ext>
              </a:extLst>
            </p:cNvPr>
            <p:cNvSpPr txBox="1">
              <a:spLocks/>
            </p:cNvSpPr>
            <p:nvPr/>
          </p:nvSpPr>
          <p:spPr>
            <a:xfrm>
              <a:off x="6924764" y="3588697"/>
              <a:ext cx="3667767" cy="369332"/>
            </a:xfrm>
            <a:prstGeom prst="rect">
              <a:avLst/>
            </a:prstGeom>
          </p:spPr>
          <p:txBody>
            <a:bodyPr>
              <a:spAutoFit/>
            </a:bodyPr>
            <a:lstStyle>
              <a:lvl1pPr marL="0" indent="0" algn="l" defTabSz="914377" rtl="0" eaLnBrk="1" latinLnBrk="0" hangingPunct="1">
                <a:lnSpc>
                  <a:spcPct val="100000"/>
                </a:lnSpc>
                <a:spcBef>
                  <a:spcPts val="1000"/>
                </a:spcBef>
                <a:buFont typeface="Arial" panose="020B0604020202020204" pitchFamily="34" charset="0"/>
                <a:buNone/>
                <a:defRPr sz="1600" b="1" i="0" kern="120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Gilroy Bold" panose="00000800000000000000" pitchFamily="50" charset="0"/>
                  <a:ea typeface="Open Sans" panose="020B0606030504020204" pitchFamily="34" charset="0"/>
                </a:rPr>
                <a:t>Better Business </a:t>
              </a:r>
              <a:r>
                <a:rPr kumimoji="0" lang="en-US" sz="1800" b="1" i="0" u="none" strike="noStrike" kern="1200" cap="none" spc="0" normalizeH="0" baseline="0" noProof="0" dirty="0">
                  <a:ln>
                    <a:noFill/>
                  </a:ln>
                  <a:solidFill>
                    <a:srgbClr val="8C2332"/>
                  </a:solidFill>
                  <a:effectLst/>
                  <a:uLnTx/>
                  <a:uFillTx/>
                  <a:latin typeface="Gilroy Bold" panose="00000800000000000000" pitchFamily="50" charset="0"/>
                  <a:ea typeface="Open Sans" panose="020B0606030504020204" pitchFamily="34" charset="0"/>
                </a:rPr>
                <a:t>Model</a:t>
              </a:r>
            </a:p>
          </p:txBody>
        </p:sp>
      </p:grpSp>
      <p:grpSp>
        <p:nvGrpSpPr>
          <p:cNvPr id="5" name="Group 4">
            <a:extLst>
              <a:ext uri="{FF2B5EF4-FFF2-40B4-BE49-F238E27FC236}">
                <a16:creationId xmlns:a16="http://schemas.microsoft.com/office/drawing/2014/main" id="{C7023A6E-44DA-4F27-9EEA-4FB41E2F0E06}"/>
              </a:ext>
            </a:extLst>
          </p:cNvPr>
          <p:cNvGrpSpPr/>
          <p:nvPr/>
        </p:nvGrpSpPr>
        <p:grpSpPr>
          <a:xfrm>
            <a:off x="6661466" y="5028978"/>
            <a:ext cx="4451238" cy="1229569"/>
            <a:chOff x="6924766" y="4943517"/>
            <a:chExt cx="3880390" cy="1229569"/>
          </a:xfrm>
        </p:grpSpPr>
        <p:sp>
          <p:nvSpPr>
            <p:cNvPr id="45" name="Text Placeholder 12">
              <a:extLst>
                <a:ext uri="{FF2B5EF4-FFF2-40B4-BE49-F238E27FC236}">
                  <a16:creationId xmlns:a16="http://schemas.microsoft.com/office/drawing/2014/main" id="{94ADC2A8-F3B5-4E6A-A302-B2D75181F301}"/>
                </a:ext>
              </a:extLst>
            </p:cNvPr>
            <p:cNvSpPr txBox="1">
              <a:spLocks/>
            </p:cNvSpPr>
            <p:nvPr/>
          </p:nvSpPr>
          <p:spPr>
            <a:xfrm>
              <a:off x="6924768" y="5341448"/>
              <a:ext cx="3880388" cy="831638"/>
            </a:xfrm>
            <a:prstGeom prst="rect">
              <a:avLst/>
            </a:prstGeom>
          </p:spPr>
          <p:txBody>
            <a:bodyPr tIns="0">
              <a:spAutoFit/>
            </a:bodyPr>
            <a:lstStyle>
              <a:lvl1pPr marL="0" indent="0" algn="l" defTabSz="914377" rtl="0" eaLnBrk="1" latinLnBrk="0" hangingPunct="1">
                <a:lnSpc>
                  <a:spcPct val="150000"/>
                </a:lnSpc>
                <a:spcBef>
                  <a:spcPts val="1000"/>
                </a:spcBef>
                <a:buFont typeface="Arial" panose="020B0604020202020204" pitchFamily="34" charset="0"/>
                <a:buNone/>
                <a:defRPr sz="1200" b="0" i="0" kern="120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25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a:ln>
                    <a:noFill/>
                  </a:ln>
                  <a:solidFill>
                    <a:srgbClr val="44546A">
                      <a:lumMod val="75000"/>
                    </a:srgbClr>
                  </a:solidFill>
                  <a:effectLst/>
                  <a:uLnTx/>
                  <a:uFillTx/>
                  <a:latin typeface="Klinic Slab Book" pitchFamily="50" charset="0"/>
                  <a:ea typeface="Open Sans" panose="020B0606030504020204" pitchFamily="34" charset="0"/>
                  <a:cs typeface="Open Sans" panose="020B0606030504020204" pitchFamily="34" charset="0"/>
                </a:rPr>
                <a:t>Your money stays local when you bank with HUECU. We give back to our community by offering financial education programs and support for local charitable organizations. </a:t>
              </a:r>
            </a:p>
          </p:txBody>
        </p:sp>
        <p:sp>
          <p:nvSpPr>
            <p:cNvPr id="46" name="Text Placeholder 13">
              <a:extLst>
                <a:ext uri="{FF2B5EF4-FFF2-40B4-BE49-F238E27FC236}">
                  <a16:creationId xmlns:a16="http://schemas.microsoft.com/office/drawing/2014/main" id="{AF461267-DD5D-4EB2-982F-AAFB7184C08B}"/>
                </a:ext>
              </a:extLst>
            </p:cNvPr>
            <p:cNvSpPr txBox="1">
              <a:spLocks/>
            </p:cNvSpPr>
            <p:nvPr/>
          </p:nvSpPr>
          <p:spPr>
            <a:xfrm>
              <a:off x="6924766" y="4943517"/>
              <a:ext cx="3667767" cy="369332"/>
            </a:xfrm>
            <a:prstGeom prst="rect">
              <a:avLst/>
            </a:prstGeom>
          </p:spPr>
          <p:txBody>
            <a:bodyPr>
              <a:spAutoFit/>
            </a:bodyPr>
            <a:lstStyle>
              <a:lvl1pPr marL="0" indent="0" algn="l" defTabSz="914377" rtl="0" eaLnBrk="1" latinLnBrk="0" hangingPunct="1">
                <a:lnSpc>
                  <a:spcPct val="100000"/>
                </a:lnSpc>
                <a:spcBef>
                  <a:spcPts val="1000"/>
                </a:spcBef>
                <a:buFont typeface="Arial" panose="020B0604020202020204" pitchFamily="34" charset="0"/>
                <a:buNone/>
                <a:defRPr sz="1600" b="1" i="0" kern="120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800" b="1" i="0" u="none" strike="noStrike" kern="1200" cap="none" spc="0" normalizeH="0" baseline="0" noProof="0" dirty="0">
                  <a:ln>
                    <a:noFill/>
                  </a:ln>
                  <a:solidFill>
                    <a:prstClr val="black"/>
                  </a:solidFill>
                  <a:effectLst/>
                  <a:uLnTx/>
                  <a:uFillTx/>
                  <a:latin typeface="Gilroy Bold" panose="00000800000000000000" pitchFamily="50" charset="0"/>
                  <a:ea typeface="Open Sans" panose="020B0606030504020204" pitchFamily="34" charset="0"/>
                </a:rPr>
                <a:t>Better For the </a:t>
              </a:r>
              <a:r>
                <a:rPr kumimoji="0" lang="en-US" sz="1800" b="1" i="0" u="none" strike="noStrike" kern="1200" cap="none" spc="0" normalizeH="0" baseline="0" noProof="0" dirty="0">
                  <a:ln>
                    <a:noFill/>
                  </a:ln>
                  <a:solidFill>
                    <a:srgbClr val="8C2332"/>
                  </a:solidFill>
                  <a:effectLst/>
                  <a:uLnTx/>
                  <a:uFillTx/>
                  <a:latin typeface="Gilroy Bold" panose="00000800000000000000" pitchFamily="50" charset="0"/>
                  <a:ea typeface="Open Sans" panose="020B0606030504020204" pitchFamily="34" charset="0"/>
                </a:rPr>
                <a:t>Community</a:t>
              </a:r>
            </a:p>
          </p:txBody>
        </p:sp>
      </p:grpSp>
    </p:spTree>
    <p:extLst>
      <p:ext uri="{BB962C8B-B14F-4D97-AF65-F5344CB8AC3E}">
        <p14:creationId xmlns:p14="http://schemas.microsoft.com/office/powerpoint/2010/main" val="24265996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CB9D268D-BC2A-8B57-337F-E4AC6BB3FAAD}"/>
              </a:ext>
            </a:extLst>
          </p:cNvPr>
          <p:cNvGraphicFramePr>
            <a:graphicFrameLocks noGrp="1"/>
          </p:cNvGraphicFramePr>
          <p:nvPr>
            <p:extLst>
              <p:ext uri="{D42A27DB-BD31-4B8C-83A1-F6EECF244321}">
                <p14:modId xmlns:p14="http://schemas.microsoft.com/office/powerpoint/2010/main" val="803470521"/>
              </p:ext>
            </p:extLst>
          </p:nvPr>
        </p:nvGraphicFramePr>
        <p:xfrm>
          <a:off x="3304237" y="1690688"/>
          <a:ext cx="8049563" cy="4212466"/>
        </p:xfrm>
        <a:graphic>
          <a:graphicData uri="http://schemas.openxmlformats.org/drawingml/2006/table">
            <a:tbl>
              <a:tblPr firstRow="1" bandRow="1">
                <a:tableStyleId>{5C22544A-7EE6-4342-B048-85BDC9FD1C3A}</a:tableStyleId>
              </a:tblPr>
              <a:tblGrid>
                <a:gridCol w="2012391">
                  <a:extLst>
                    <a:ext uri="{9D8B030D-6E8A-4147-A177-3AD203B41FA5}">
                      <a16:colId xmlns:a16="http://schemas.microsoft.com/office/drawing/2014/main" val="20000"/>
                    </a:ext>
                  </a:extLst>
                </a:gridCol>
                <a:gridCol w="2012391">
                  <a:extLst>
                    <a:ext uri="{9D8B030D-6E8A-4147-A177-3AD203B41FA5}">
                      <a16:colId xmlns:a16="http://schemas.microsoft.com/office/drawing/2014/main" val="20001"/>
                    </a:ext>
                  </a:extLst>
                </a:gridCol>
                <a:gridCol w="1889183">
                  <a:extLst>
                    <a:ext uri="{9D8B030D-6E8A-4147-A177-3AD203B41FA5}">
                      <a16:colId xmlns:a16="http://schemas.microsoft.com/office/drawing/2014/main" val="20002"/>
                    </a:ext>
                  </a:extLst>
                </a:gridCol>
                <a:gridCol w="2135598">
                  <a:extLst>
                    <a:ext uri="{9D8B030D-6E8A-4147-A177-3AD203B41FA5}">
                      <a16:colId xmlns:a16="http://schemas.microsoft.com/office/drawing/2014/main" val="20003"/>
                    </a:ext>
                  </a:extLst>
                </a:gridCol>
              </a:tblGrid>
              <a:tr h="991036">
                <a:tc>
                  <a:txBody>
                    <a:bodyPr/>
                    <a:lstStyle/>
                    <a:p>
                      <a:pPr algn="ctr"/>
                      <a:r>
                        <a:rPr lang="en-US" sz="2600" b="1" dirty="0">
                          <a:latin typeface="Century Gothic" panose="020B0502020202020204" pitchFamily="34" charset="0"/>
                          <a:cs typeface="Arial" panose="020B0604020202020204" pitchFamily="34" charset="0"/>
                        </a:rPr>
                        <a:t>FICO </a:t>
                      </a:r>
                    </a:p>
                    <a:p>
                      <a:pPr algn="ctr"/>
                      <a:r>
                        <a:rPr lang="en-US" sz="2600" b="1" dirty="0">
                          <a:latin typeface="Century Gothic" panose="020B0502020202020204" pitchFamily="34" charset="0"/>
                          <a:cs typeface="Arial" panose="020B0604020202020204" pitchFamily="34" charset="0"/>
                        </a:rPr>
                        <a:t>Score</a:t>
                      </a:r>
                    </a:p>
                  </a:txBody>
                  <a:tcPr marT="45700" marB="45700">
                    <a:solidFill>
                      <a:srgbClr val="88C240"/>
                    </a:solidFill>
                  </a:tcPr>
                </a:tc>
                <a:tc>
                  <a:txBody>
                    <a:bodyPr/>
                    <a:lstStyle/>
                    <a:p>
                      <a:pPr algn="ctr"/>
                      <a:r>
                        <a:rPr lang="en-US" sz="2600" b="1" dirty="0">
                          <a:latin typeface="Century Gothic" panose="020B0502020202020204" pitchFamily="34" charset="0"/>
                          <a:cs typeface="Arial" panose="020B0604020202020204" pitchFamily="34" charset="0"/>
                        </a:rPr>
                        <a:t>Interest Rate</a:t>
                      </a:r>
                    </a:p>
                  </a:txBody>
                  <a:tcPr marT="45700" marB="45700">
                    <a:solidFill>
                      <a:srgbClr val="88C240"/>
                    </a:solidFill>
                  </a:tcPr>
                </a:tc>
                <a:tc>
                  <a:txBody>
                    <a:bodyPr/>
                    <a:lstStyle/>
                    <a:p>
                      <a:pPr algn="ctr"/>
                      <a:r>
                        <a:rPr lang="en-US" sz="2600" b="1" dirty="0">
                          <a:latin typeface="Century Gothic" panose="020B0502020202020204" pitchFamily="34" charset="0"/>
                          <a:cs typeface="Arial" panose="020B0604020202020204" pitchFamily="34" charset="0"/>
                        </a:rPr>
                        <a:t>Monthly</a:t>
                      </a:r>
                      <a:r>
                        <a:rPr lang="en-US" sz="2600" b="1" baseline="0" dirty="0">
                          <a:latin typeface="Century Gothic" panose="020B0502020202020204" pitchFamily="34" charset="0"/>
                          <a:cs typeface="Arial" panose="020B0604020202020204" pitchFamily="34" charset="0"/>
                        </a:rPr>
                        <a:t> Payment</a:t>
                      </a:r>
                      <a:endParaRPr lang="en-US" sz="2600" b="1" dirty="0">
                        <a:latin typeface="Century Gothic" panose="020B0502020202020204" pitchFamily="34" charset="0"/>
                        <a:cs typeface="Arial" panose="020B0604020202020204" pitchFamily="34" charset="0"/>
                      </a:endParaRPr>
                    </a:p>
                  </a:txBody>
                  <a:tcPr marT="45700" marB="45700">
                    <a:solidFill>
                      <a:srgbClr val="88C240"/>
                    </a:solidFill>
                  </a:tcPr>
                </a:tc>
                <a:tc>
                  <a:txBody>
                    <a:bodyPr/>
                    <a:lstStyle/>
                    <a:p>
                      <a:pPr algn="ctr"/>
                      <a:r>
                        <a:rPr lang="en-US" sz="2600" b="1" dirty="0">
                          <a:latin typeface="Century Gothic" panose="020B0502020202020204" pitchFamily="34" charset="0"/>
                          <a:cs typeface="Arial" panose="020B0604020202020204" pitchFamily="34" charset="0"/>
                        </a:rPr>
                        <a:t>Total Interest Paid</a:t>
                      </a:r>
                    </a:p>
                  </a:txBody>
                  <a:tcPr marT="45700" marB="45700">
                    <a:solidFill>
                      <a:srgbClr val="88C240"/>
                    </a:solidFill>
                  </a:tcPr>
                </a:tc>
                <a:extLst>
                  <a:ext uri="{0D108BD9-81ED-4DB2-BD59-A6C34878D82A}">
                    <a16:rowId xmlns:a16="http://schemas.microsoft.com/office/drawing/2014/main" val="10000"/>
                  </a:ext>
                </a:extLst>
              </a:tr>
              <a:tr h="468976">
                <a:tc>
                  <a:txBody>
                    <a:bodyPr/>
                    <a:lstStyle/>
                    <a:p>
                      <a:pPr algn="ctr"/>
                      <a:r>
                        <a:rPr lang="en-US" sz="2600" b="1" dirty="0">
                          <a:latin typeface="Century Gothic" panose="020B0502020202020204" pitchFamily="34" charset="0"/>
                          <a:cs typeface="Arial" panose="020B0604020202020204" pitchFamily="34" charset="0"/>
                        </a:rPr>
                        <a:t>720-850</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7.606%</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502</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5,133</a:t>
                      </a:r>
                    </a:p>
                  </a:txBody>
                  <a:tcPr marT="45700" marB="45700"/>
                </a:tc>
                <a:extLst>
                  <a:ext uri="{0D108BD9-81ED-4DB2-BD59-A6C34878D82A}">
                    <a16:rowId xmlns:a16="http://schemas.microsoft.com/office/drawing/2014/main" val="10001"/>
                  </a:ext>
                </a:extLst>
              </a:tr>
              <a:tr h="546758">
                <a:tc>
                  <a:txBody>
                    <a:bodyPr/>
                    <a:lstStyle/>
                    <a:p>
                      <a:pPr algn="ctr"/>
                      <a:r>
                        <a:rPr lang="en-US" sz="2600" b="1" dirty="0">
                          <a:latin typeface="Century Gothic" panose="020B0502020202020204" pitchFamily="34" charset="0"/>
                          <a:cs typeface="Arial" panose="020B0604020202020204" pitchFamily="34" charset="0"/>
                        </a:rPr>
                        <a:t>690-719</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8.709%</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515</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5,926</a:t>
                      </a:r>
                    </a:p>
                  </a:txBody>
                  <a:tcPr marT="45700" marB="45700"/>
                </a:tc>
                <a:extLst>
                  <a:ext uri="{0D108BD9-81ED-4DB2-BD59-A6C34878D82A}">
                    <a16:rowId xmlns:a16="http://schemas.microsoft.com/office/drawing/2014/main" val="10002"/>
                  </a:ext>
                </a:extLst>
              </a:tr>
              <a:tr h="546758">
                <a:tc>
                  <a:txBody>
                    <a:bodyPr/>
                    <a:lstStyle/>
                    <a:p>
                      <a:pPr algn="ctr"/>
                      <a:r>
                        <a:rPr lang="en-US" sz="2600" b="1" dirty="0">
                          <a:latin typeface="Century Gothic" panose="020B0502020202020204" pitchFamily="34" charset="0"/>
                          <a:cs typeface="Arial" panose="020B0604020202020204" pitchFamily="34" charset="0"/>
                        </a:rPr>
                        <a:t>660-689</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10.457%</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537</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7,209</a:t>
                      </a:r>
                    </a:p>
                  </a:txBody>
                  <a:tcPr marT="45700" marB="45700"/>
                </a:tc>
                <a:extLst>
                  <a:ext uri="{0D108BD9-81ED-4DB2-BD59-A6C34878D82A}">
                    <a16:rowId xmlns:a16="http://schemas.microsoft.com/office/drawing/2014/main" val="10003"/>
                  </a:ext>
                </a:extLst>
              </a:tr>
              <a:tr h="546758">
                <a:tc>
                  <a:txBody>
                    <a:bodyPr/>
                    <a:lstStyle/>
                    <a:p>
                      <a:pPr algn="ctr"/>
                      <a:r>
                        <a:rPr lang="en-US" sz="2600" b="1" dirty="0">
                          <a:latin typeface="Century Gothic" panose="020B0502020202020204" pitchFamily="34" charset="0"/>
                          <a:cs typeface="Arial" panose="020B0604020202020204" pitchFamily="34" charset="0"/>
                        </a:rPr>
                        <a:t>620-659</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12.658%</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564</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8,868</a:t>
                      </a:r>
                    </a:p>
                  </a:txBody>
                  <a:tcPr marT="45700" marB="45700"/>
                </a:tc>
                <a:extLst>
                  <a:ext uri="{0D108BD9-81ED-4DB2-BD59-A6C34878D82A}">
                    <a16:rowId xmlns:a16="http://schemas.microsoft.com/office/drawing/2014/main" val="10004"/>
                  </a:ext>
                </a:extLst>
              </a:tr>
              <a:tr h="546758">
                <a:tc>
                  <a:txBody>
                    <a:bodyPr/>
                    <a:lstStyle/>
                    <a:p>
                      <a:pPr algn="ctr"/>
                      <a:r>
                        <a:rPr lang="en-US" sz="2600" b="1" dirty="0">
                          <a:latin typeface="Century Gothic" panose="020B0502020202020204" pitchFamily="34" charset="0"/>
                          <a:cs typeface="Arial" panose="020B0604020202020204" pitchFamily="34" charset="0"/>
                        </a:rPr>
                        <a:t>590-619</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16.845%</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619</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12,154</a:t>
                      </a:r>
                    </a:p>
                  </a:txBody>
                  <a:tcPr marT="45700" marB="45700"/>
                </a:tc>
                <a:extLst>
                  <a:ext uri="{0D108BD9-81ED-4DB2-BD59-A6C34878D82A}">
                    <a16:rowId xmlns:a16="http://schemas.microsoft.com/office/drawing/2014/main" val="10005"/>
                  </a:ext>
                </a:extLst>
              </a:tr>
              <a:tr h="546758">
                <a:tc>
                  <a:txBody>
                    <a:bodyPr/>
                    <a:lstStyle/>
                    <a:p>
                      <a:pPr algn="ctr"/>
                      <a:r>
                        <a:rPr lang="en-US" sz="2600" b="1" dirty="0">
                          <a:latin typeface="Century Gothic" panose="020B0502020202020204" pitchFamily="34" charset="0"/>
                          <a:cs typeface="Arial" panose="020B0604020202020204" pitchFamily="34" charset="0"/>
                        </a:rPr>
                        <a:t>500-589</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17.568%</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629</a:t>
                      </a:r>
                    </a:p>
                  </a:txBody>
                  <a:tcPr marT="45700" marB="45700"/>
                </a:tc>
                <a:tc>
                  <a:txBody>
                    <a:bodyPr/>
                    <a:lstStyle/>
                    <a:p>
                      <a:pPr algn="ctr"/>
                      <a:r>
                        <a:rPr lang="en-US" sz="2600" b="0" dirty="0">
                          <a:latin typeface="Century Gothic" panose="020B0502020202020204" pitchFamily="34" charset="0"/>
                          <a:cs typeface="Arial" panose="020B0604020202020204" pitchFamily="34" charset="0"/>
                        </a:rPr>
                        <a:t>$12,739</a:t>
                      </a:r>
                    </a:p>
                  </a:txBody>
                  <a:tcPr marT="45700" marB="45700"/>
                </a:tc>
                <a:extLst>
                  <a:ext uri="{0D108BD9-81ED-4DB2-BD59-A6C34878D82A}">
                    <a16:rowId xmlns:a16="http://schemas.microsoft.com/office/drawing/2014/main" val="10006"/>
                  </a:ext>
                </a:extLst>
              </a:tr>
            </a:tbl>
          </a:graphicData>
        </a:graphic>
      </p:graphicFrame>
      <p:sp>
        <p:nvSpPr>
          <p:cNvPr id="5" name="Rectangle 3">
            <a:extLst>
              <a:ext uri="{FF2B5EF4-FFF2-40B4-BE49-F238E27FC236}">
                <a16:creationId xmlns:a16="http://schemas.microsoft.com/office/drawing/2014/main" id="{BA22CFC0-0FCE-4EDB-B318-EEA05914CA6F}"/>
              </a:ext>
            </a:extLst>
          </p:cNvPr>
          <p:cNvSpPr txBox="1">
            <a:spLocks noChangeArrowheads="1"/>
          </p:cNvSpPr>
          <p:nvPr/>
        </p:nvSpPr>
        <p:spPr>
          <a:xfrm>
            <a:off x="257177" y="3171346"/>
            <a:ext cx="2760618" cy="1251150"/>
          </a:xfrm>
          <a:prstGeom prst="rect">
            <a:avLst/>
          </a:prstGeom>
        </p:spPr>
        <p:txBody>
          <a:bodyPr vert="horz" lIns="91440" tIns="45720" rIns="91440" bIns="45720" rtlCol="0">
            <a:normAutofit fontScale="25000" lnSpcReduction="20000"/>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None/>
            </a:pPr>
            <a:r>
              <a:rPr lang="en-US" sz="12800" dirty="0">
                <a:solidFill>
                  <a:srgbClr val="FFFFFF"/>
                </a:solidFill>
                <a:latin typeface="Century Gothic" panose="020B0502020202020204" pitchFamily="34" charset="0"/>
              </a:rPr>
              <a:t>60-month, new auto loan for $25,000</a:t>
            </a:r>
            <a:r>
              <a:rPr lang="en-US" altLang="en-US" sz="12800" dirty="0">
                <a:solidFill>
                  <a:srgbClr val="FFFFFF"/>
                </a:solidFill>
                <a:latin typeface="Century Gothic" panose="020B0502020202020204" pitchFamily="34" charset="0"/>
                <a:cs typeface="Arial" panose="020B0604020202020204" pitchFamily="34" charset="0"/>
              </a:rPr>
              <a:t> </a:t>
            </a:r>
          </a:p>
          <a:p>
            <a:endParaRPr lang="en-US" altLang="en-US" sz="3000" dirty="0"/>
          </a:p>
        </p:txBody>
      </p:sp>
      <p:sp>
        <p:nvSpPr>
          <p:cNvPr id="7" name="TextBox 6">
            <a:extLst>
              <a:ext uri="{FF2B5EF4-FFF2-40B4-BE49-F238E27FC236}">
                <a16:creationId xmlns:a16="http://schemas.microsoft.com/office/drawing/2014/main" id="{CE073219-166E-42B3-90FC-CAF1BCDE5FDD}"/>
              </a:ext>
            </a:extLst>
          </p:cNvPr>
          <p:cNvSpPr txBox="1"/>
          <p:nvPr/>
        </p:nvSpPr>
        <p:spPr>
          <a:xfrm>
            <a:off x="0" y="6277728"/>
            <a:ext cx="12192000" cy="369332"/>
          </a:xfrm>
          <a:prstGeom prst="rect">
            <a:avLst/>
          </a:prstGeom>
          <a:noFill/>
        </p:spPr>
        <p:txBody>
          <a:bodyPr wrap="square" rtlCol="0">
            <a:spAutoFit/>
          </a:bodyPr>
          <a:lstStyle/>
          <a:p>
            <a:pPr algn="ctr"/>
            <a:r>
              <a:rPr lang="en-US" altLang="en-US" i="1" dirty="0">
                <a:solidFill>
                  <a:srgbClr val="FFFFFF"/>
                </a:solidFill>
                <a:latin typeface="Century Gothic" panose="020B0502020202020204" pitchFamily="34" charset="0"/>
                <a:cs typeface="Arial" panose="020B0604020202020204" pitchFamily="34" charset="0"/>
              </a:rPr>
              <a:t>Source: https://www.myfico.com/credit-education/calculators/loan-savings-calculator/ </a:t>
            </a:r>
          </a:p>
        </p:txBody>
      </p:sp>
      <p:sp>
        <p:nvSpPr>
          <p:cNvPr id="8" name="Rectangle 7">
            <a:extLst>
              <a:ext uri="{FF2B5EF4-FFF2-40B4-BE49-F238E27FC236}">
                <a16:creationId xmlns:a16="http://schemas.microsoft.com/office/drawing/2014/main" id="{03DA3055-421B-178A-1B6A-C8CBA1FF8DAD}"/>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9" name="TextBox 8">
            <a:extLst>
              <a:ext uri="{FF2B5EF4-FFF2-40B4-BE49-F238E27FC236}">
                <a16:creationId xmlns:a16="http://schemas.microsoft.com/office/drawing/2014/main" id="{4EDB4182-BDAA-5A4D-0340-69456B2FD0D5}"/>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Why Credit Matters</a:t>
            </a:r>
          </a:p>
        </p:txBody>
      </p:sp>
      <p:sp>
        <p:nvSpPr>
          <p:cNvPr id="10" name="Arrow: Right 9">
            <a:extLst>
              <a:ext uri="{FF2B5EF4-FFF2-40B4-BE49-F238E27FC236}">
                <a16:creationId xmlns:a16="http://schemas.microsoft.com/office/drawing/2014/main" id="{E827C199-4D77-CD37-4523-79FAE7A4161C}"/>
              </a:ext>
            </a:extLst>
          </p:cNvPr>
          <p:cNvSpPr/>
          <p:nvPr/>
        </p:nvSpPr>
        <p:spPr>
          <a:xfrm rot="10800000">
            <a:off x="10910044" y="5366278"/>
            <a:ext cx="1033463" cy="464360"/>
          </a:xfrm>
          <a:prstGeom prst="rightArrow">
            <a:avLst/>
          </a:prstGeom>
          <a:solidFill>
            <a:schemeClr val="tx2"/>
          </a:solidFill>
          <a:ln>
            <a:solidFill>
              <a:srgbClr val="88C2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Arrow: Right 10">
            <a:extLst>
              <a:ext uri="{FF2B5EF4-FFF2-40B4-BE49-F238E27FC236}">
                <a16:creationId xmlns:a16="http://schemas.microsoft.com/office/drawing/2014/main" id="{1610DC64-1E07-B2C0-F27B-D2BE62E8E760}"/>
              </a:ext>
            </a:extLst>
          </p:cNvPr>
          <p:cNvSpPr/>
          <p:nvPr/>
        </p:nvSpPr>
        <p:spPr>
          <a:xfrm rot="10800000">
            <a:off x="10868714" y="2706986"/>
            <a:ext cx="1033463" cy="464360"/>
          </a:xfrm>
          <a:prstGeom prst="rightArrow">
            <a:avLst/>
          </a:prstGeom>
          <a:solidFill>
            <a:schemeClr val="tx2"/>
          </a:solidFill>
          <a:ln>
            <a:solidFill>
              <a:srgbClr val="88C2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2682688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Credit Score Factors</a:t>
            </a:r>
          </a:p>
        </p:txBody>
      </p:sp>
    </p:spTree>
    <p:extLst>
      <p:ext uri="{BB962C8B-B14F-4D97-AF65-F5344CB8AC3E}">
        <p14:creationId xmlns:p14="http://schemas.microsoft.com/office/powerpoint/2010/main" val="326773229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Credit Score Factors</a:t>
            </a:r>
          </a:p>
        </p:txBody>
      </p:sp>
      <p:graphicFrame>
        <p:nvGraphicFramePr>
          <p:cNvPr id="6" name="Chart 5">
            <a:extLst>
              <a:ext uri="{FF2B5EF4-FFF2-40B4-BE49-F238E27FC236}">
                <a16:creationId xmlns:a16="http://schemas.microsoft.com/office/drawing/2014/main" id="{F5FC76EF-8D18-D951-4890-263D64564788}"/>
              </a:ext>
            </a:extLst>
          </p:cNvPr>
          <p:cNvGraphicFramePr/>
          <p:nvPr>
            <p:extLst>
              <p:ext uri="{D42A27DB-BD31-4B8C-83A1-F6EECF244321}">
                <p14:modId xmlns:p14="http://schemas.microsoft.com/office/powerpoint/2010/main" val="1490350185"/>
              </p:ext>
            </p:extLst>
          </p:nvPr>
        </p:nvGraphicFramePr>
        <p:xfrm>
          <a:off x="1211580" y="1294715"/>
          <a:ext cx="9768840" cy="576140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6555270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Credit Score Factors</a:t>
            </a:r>
          </a:p>
        </p:txBody>
      </p:sp>
      <p:graphicFrame>
        <p:nvGraphicFramePr>
          <p:cNvPr id="6" name="Chart 5">
            <a:extLst>
              <a:ext uri="{FF2B5EF4-FFF2-40B4-BE49-F238E27FC236}">
                <a16:creationId xmlns:a16="http://schemas.microsoft.com/office/drawing/2014/main" id="{F5FC76EF-8D18-D951-4890-263D64564788}"/>
              </a:ext>
            </a:extLst>
          </p:cNvPr>
          <p:cNvGraphicFramePr/>
          <p:nvPr>
            <p:extLst>
              <p:ext uri="{D42A27DB-BD31-4B8C-83A1-F6EECF244321}">
                <p14:modId xmlns:p14="http://schemas.microsoft.com/office/powerpoint/2010/main" val="4124475084"/>
              </p:ext>
            </p:extLst>
          </p:nvPr>
        </p:nvGraphicFramePr>
        <p:xfrm>
          <a:off x="1211580" y="1294715"/>
          <a:ext cx="9768840" cy="5761405"/>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62760D48-51A7-CC2B-1D24-11B4E196363F}"/>
              </a:ext>
            </a:extLst>
          </p:cNvPr>
          <p:cNvSpPr txBox="1"/>
          <p:nvPr/>
        </p:nvSpPr>
        <p:spPr>
          <a:xfrm>
            <a:off x="6096000" y="648383"/>
            <a:ext cx="6096000" cy="646331"/>
          </a:xfrm>
          <a:prstGeom prst="rect">
            <a:avLst/>
          </a:prstGeom>
          <a:noFill/>
        </p:spPr>
        <p:txBody>
          <a:bodyPr wrap="square" rtlCol="0">
            <a:spAutoFit/>
          </a:bodyPr>
          <a:lstStyle/>
          <a:p>
            <a:pPr algn="ctr"/>
            <a:r>
              <a:rPr lang="en-US" sz="3600" b="1" dirty="0">
                <a:solidFill>
                  <a:srgbClr val="FFFFFF"/>
                </a:solidFill>
                <a:latin typeface="Century Gothic" panose="020B0502020202020204" pitchFamily="34" charset="0"/>
              </a:rPr>
              <a:t>Payment History</a:t>
            </a:r>
          </a:p>
        </p:txBody>
      </p:sp>
    </p:spTree>
    <p:extLst>
      <p:ext uri="{BB962C8B-B14F-4D97-AF65-F5344CB8AC3E}">
        <p14:creationId xmlns:p14="http://schemas.microsoft.com/office/powerpoint/2010/main" val="2468806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Credit Score Factors</a:t>
            </a:r>
          </a:p>
        </p:txBody>
      </p:sp>
      <p:graphicFrame>
        <p:nvGraphicFramePr>
          <p:cNvPr id="6" name="Chart 5">
            <a:extLst>
              <a:ext uri="{FF2B5EF4-FFF2-40B4-BE49-F238E27FC236}">
                <a16:creationId xmlns:a16="http://schemas.microsoft.com/office/drawing/2014/main" id="{F5FC76EF-8D18-D951-4890-263D64564788}"/>
              </a:ext>
            </a:extLst>
          </p:cNvPr>
          <p:cNvGraphicFramePr/>
          <p:nvPr>
            <p:extLst>
              <p:ext uri="{D42A27DB-BD31-4B8C-83A1-F6EECF244321}">
                <p14:modId xmlns:p14="http://schemas.microsoft.com/office/powerpoint/2010/main" val="633822690"/>
              </p:ext>
            </p:extLst>
          </p:nvPr>
        </p:nvGraphicFramePr>
        <p:xfrm>
          <a:off x="1211580" y="1294715"/>
          <a:ext cx="9768840" cy="5761405"/>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42D32D48-45CF-3AAD-295F-6050F350907D}"/>
              </a:ext>
            </a:extLst>
          </p:cNvPr>
          <p:cNvSpPr txBox="1"/>
          <p:nvPr/>
        </p:nvSpPr>
        <p:spPr>
          <a:xfrm>
            <a:off x="6096000" y="648383"/>
            <a:ext cx="6096000" cy="646331"/>
          </a:xfrm>
          <a:prstGeom prst="rect">
            <a:avLst/>
          </a:prstGeom>
          <a:noFill/>
        </p:spPr>
        <p:txBody>
          <a:bodyPr wrap="square" rtlCol="0">
            <a:spAutoFit/>
          </a:bodyPr>
          <a:lstStyle/>
          <a:p>
            <a:pPr algn="ctr"/>
            <a:r>
              <a:rPr lang="en-US" sz="3600" b="1" dirty="0">
                <a:solidFill>
                  <a:srgbClr val="FFFFFF"/>
                </a:solidFill>
                <a:latin typeface="Century Gothic" panose="020B0502020202020204" pitchFamily="34" charset="0"/>
              </a:rPr>
              <a:t>Amounts Owed</a:t>
            </a:r>
          </a:p>
        </p:txBody>
      </p:sp>
    </p:spTree>
    <p:extLst>
      <p:ext uri="{BB962C8B-B14F-4D97-AF65-F5344CB8AC3E}">
        <p14:creationId xmlns:p14="http://schemas.microsoft.com/office/powerpoint/2010/main" val="137342047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Credit Score Factors</a:t>
            </a:r>
          </a:p>
        </p:txBody>
      </p:sp>
      <p:graphicFrame>
        <p:nvGraphicFramePr>
          <p:cNvPr id="6" name="Chart 5">
            <a:extLst>
              <a:ext uri="{FF2B5EF4-FFF2-40B4-BE49-F238E27FC236}">
                <a16:creationId xmlns:a16="http://schemas.microsoft.com/office/drawing/2014/main" id="{F5FC76EF-8D18-D951-4890-263D64564788}"/>
              </a:ext>
            </a:extLst>
          </p:cNvPr>
          <p:cNvGraphicFramePr/>
          <p:nvPr>
            <p:extLst>
              <p:ext uri="{D42A27DB-BD31-4B8C-83A1-F6EECF244321}">
                <p14:modId xmlns:p14="http://schemas.microsoft.com/office/powerpoint/2010/main" val="858800525"/>
              </p:ext>
            </p:extLst>
          </p:nvPr>
        </p:nvGraphicFramePr>
        <p:xfrm>
          <a:off x="1211580" y="1294715"/>
          <a:ext cx="9768840" cy="5761405"/>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49C6C8D4-B008-8C38-5513-239AC2E57550}"/>
              </a:ext>
            </a:extLst>
          </p:cNvPr>
          <p:cNvSpPr txBox="1"/>
          <p:nvPr/>
        </p:nvSpPr>
        <p:spPr>
          <a:xfrm>
            <a:off x="6096000" y="648383"/>
            <a:ext cx="6096000" cy="646331"/>
          </a:xfrm>
          <a:prstGeom prst="rect">
            <a:avLst/>
          </a:prstGeom>
          <a:noFill/>
        </p:spPr>
        <p:txBody>
          <a:bodyPr wrap="square" rtlCol="0">
            <a:spAutoFit/>
          </a:bodyPr>
          <a:lstStyle/>
          <a:p>
            <a:pPr algn="ctr"/>
            <a:r>
              <a:rPr lang="en-US" sz="3600" b="1" dirty="0">
                <a:solidFill>
                  <a:srgbClr val="FFFFFF"/>
                </a:solidFill>
                <a:latin typeface="Century Gothic" panose="020B0502020202020204" pitchFamily="34" charset="0"/>
              </a:rPr>
              <a:t>Length of Credit History</a:t>
            </a:r>
          </a:p>
        </p:txBody>
      </p:sp>
    </p:spTree>
    <p:extLst>
      <p:ext uri="{BB962C8B-B14F-4D97-AF65-F5344CB8AC3E}">
        <p14:creationId xmlns:p14="http://schemas.microsoft.com/office/powerpoint/2010/main" val="26905291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Credit Score Factors</a:t>
            </a:r>
          </a:p>
        </p:txBody>
      </p:sp>
      <p:graphicFrame>
        <p:nvGraphicFramePr>
          <p:cNvPr id="6" name="Chart 5">
            <a:extLst>
              <a:ext uri="{FF2B5EF4-FFF2-40B4-BE49-F238E27FC236}">
                <a16:creationId xmlns:a16="http://schemas.microsoft.com/office/drawing/2014/main" id="{F5FC76EF-8D18-D951-4890-263D64564788}"/>
              </a:ext>
            </a:extLst>
          </p:cNvPr>
          <p:cNvGraphicFramePr/>
          <p:nvPr>
            <p:extLst>
              <p:ext uri="{D42A27DB-BD31-4B8C-83A1-F6EECF244321}">
                <p14:modId xmlns:p14="http://schemas.microsoft.com/office/powerpoint/2010/main" val="2469350867"/>
              </p:ext>
            </p:extLst>
          </p:nvPr>
        </p:nvGraphicFramePr>
        <p:xfrm>
          <a:off x="1211580" y="1294715"/>
          <a:ext cx="9768840" cy="5761405"/>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AB26652D-6755-9C0B-909B-3BA87677F41A}"/>
              </a:ext>
            </a:extLst>
          </p:cNvPr>
          <p:cNvSpPr txBox="1"/>
          <p:nvPr/>
        </p:nvSpPr>
        <p:spPr>
          <a:xfrm>
            <a:off x="6096000" y="648383"/>
            <a:ext cx="6096000" cy="646331"/>
          </a:xfrm>
          <a:prstGeom prst="rect">
            <a:avLst/>
          </a:prstGeom>
          <a:noFill/>
        </p:spPr>
        <p:txBody>
          <a:bodyPr wrap="square" rtlCol="0">
            <a:spAutoFit/>
          </a:bodyPr>
          <a:lstStyle/>
          <a:p>
            <a:pPr algn="ctr"/>
            <a:r>
              <a:rPr lang="en-US" sz="3600" b="1" dirty="0">
                <a:solidFill>
                  <a:srgbClr val="FFFFFF"/>
                </a:solidFill>
                <a:latin typeface="Century Gothic" panose="020B0502020202020204" pitchFamily="34" charset="0"/>
              </a:rPr>
              <a:t>New Credit</a:t>
            </a:r>
          </a:p>
        </p:txBody>
      </p:sp>
    </p:spTree>
    <p:extLst>
      <p:ext uri="{BB962C8B-B14F-4D97-AF65-F5344CB8AC3E}">
        <p14:creationId xmlns:p14="http://schemas.microsoft.com/office/powerpoint/2010/main" val="124306515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Credit Score Factors</a:t>
            </a:r>
          </a:p>
        </p:txBody>
      </p:sp>
      <p:graphicFrame>
        <p:nvGraphicFramePr>
          <p:cNvPr id="6" name="Chart 5">
            <a:extLst>
              <a:ext uri="{FF2B5EF4-FFF2-40B4-BE49-F238E27FC236}">
                <a16:creationId xmlns:a16="http://schemas.microsoft.com/office/drawing/2014/main" id="{F5FC76EF-8D18-D951-4890-263D64564788}"/>
              </a:ext>
            </a:extLst>
          </p:cNvPr>
          <p:cNvGraphicFramePr/>
          <p:nvPr>
            <p:extLst>
              <p:ext uri="{D42A27DB-BD31-4B8C-83A1-F6EECF244321}">
                <p14:modId xmlns:p14="http://schemas.microsoft.com/office/powerpoint/2010/main" val="2129258270"/>
              </p:ext>
            </p:extLst>
          </p:nvPr>
        </p:nvGraphicFramePr>
        <p:xfrm>
          <a:off x="1211580" y="1294715"/>
          <a:ext cx="9768840" cy="5761405"/>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2D40F8B9-1FC6-B752-D897-733755A4AB83}"/>
              </a:ext>
            </a:extLst>
          </p:cNvPr>
          <p:cNvSpPr txBox="1"/>
          <p:nvPr/>
        </p:nvSpPr>
        <p:spPr>
          <a:xfrm>
            <a:off x="6096000" y="648383"/>
            <a:ext cx="6096000" cy="646331"/>
          </a:xfrm>
          <a:prstGeom prst="rect">
            <a:avLst/>
          </a:prstGeom>
          <a:noFill/>
        </p:spPr>
        <p:txBody>
          <a:bodyPr wrap="square" rtlCol="0">
            <a:spAutoFit/>
          </a:bodyPr>
          <a:lstStyle/>
          <a:p>
            <a:pPr algn="ctr"/>
            <a:r>
              <a:rPr lang="en-US" sz="3600" b="1" dirty="0">
                <a:solidFill>
                  <a:srgbClr val="FFFFFF"/>
                </a:solidFill>
                <a:latin typeface="Century Gothic" panose="020B0502020202020204" pitchFamily="34" charset="0"/>
              </a:rPr>
              <a:t>Credit Mix</a:t>
            </a:r>
          </a:p>
        </p:txBody>
      </p:sp>
    </p:spTree>
    <p:extLst>
      <p:ext uri="{BB962C8B-B14F-4D97-AF65-F5344CB8AC3E}">
        <p14:creationId xmlns:p14="http://schemas.microsoft.com/office/powerpoint/2010/main" val="153040902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Credit Score Factors</a:t>
            </a:r>
          </a:p>
        </p:txBody>
      </p:sp>
      <p:graphicFrame>
        <p:nvGraphicFramePr>
          <p:cNvPr id="6" name="Chart 5">
            <a:extLst>
              <a:ext uri="{FF2B5EF4-FFF2-40B4-BE49-F238E27FC236}">
                <a16:creationId xmlns:a16="http://schemas.microsoft.com/office/drawing/2014/main" id="{F5FC76EF-8D18-D951-4890-263D64564788}"/>
              </a:ext>
            </a:extLst>
          </p:cNvPr>
          <p:cNvGraphicFramePr/>
          <p:nvPr/>
        </p:nvGraphicFramePr>
        <p:xfrm>
          <a:off x="1211580" y="1294715"/>
          <a:ext cx="9768840" cy="576140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63412666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Building Credit</a:t>
            </a:r>
          </a:p>
        </p:txBody>
      </p:sp>
    </p:spTree>
    <p:extLst>
      <p:ext uri="{BB962C8B-B14F-4D97-AF65-F5344CB8AC3E}">
        <p14:creationId xmlns:p14="http://schemas.microsoft.com/office/powerpoint/2010/main" val="191039092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5">
            <a:extLst>
              <a:ext uri="{FF2B5EF4-FFF2-40B4-BE49-F238E27FC236}">
                <a16:creationId xmlns:a16="http://schemas.microsoft.com/office/drawing/2014/main" id="{1ED3111C-5134-449F-90BE-DF1C89447F15}"/>
              </a:ext>
            </a:extLst>
          </p:cNvPr>
          <p:cNvSpPr txBox="1">
            <a:spLocks/>
          </p:cNvSpPr>
          <p:nvPr/>
        </p:nvSpPr>
        <p:spPr>
          <a:xfrm>
            <a:off x="597139" y="990601"/>
            <a:ext cx="8578033" cy="1440872"/>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4400" b="1" i="0" kern="1200" spc="-150">
                <a:solidFill>
                  <a:schemeClr val="tx1"/>
                </a:solidFill>
                <a:latin typeface="Gilroy ExtraBold" panose="00000900000000000000" pitchFamily="50" charset="0"/>
                <a:ea typeface="+mn-ea"/>
                <a:cs typeface="Gilroy ExtraBold" panose="00000900000000000000" pitchFamily="50"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4400" b="1" i="0" u="none" strike="noStrike" kern="1200" cap="none" spc="-150" normalizeH="0" baseline="0" noProof="0">
                <a:ln>
                  <a:noFill/>
                </a:ln>
                <a:solidFill>
                  <a:sysClr val="windowText" lastClr="000000"/>
                </a:solidFill>
                <a:effectLst/>
                <a:uLnTx/>
                <a:uFillTx/>
                <a:latin typeface="Gilroy ExtraBold" panose="00000900000000000000" pitchFamily="50" charset="0"/>
                <a:ea typeface="+mn-ea"/>
              </a:rPr>
              <a:t>College Life Accounts</a:t>
            </a:r>
            <a:r>
              <a:rPr kumimoji="0" lang="en-US" sz="4400" b="1" i="0" u="none" strike="noStrike" kern="1200" cap="none" spc="-150" normalizeH="0" baseline="0" noProof="0">
                <a:ln>
                  <a:noFill/>
                </a:ln>
                <a:solidFill>
                  <a:srgbClr val="8C2332"/>
                </a:solidFill>
                <a:effectLst/>
                <a:uLnTx/>
                <a:uFillTx/>
                <a:latin typeface="Gilroy ExtraBold" panose="00000900000000000000" pitchFamily="50" charset="0"/>
                <a:ea typeface="+mn-ea"/>
              </a:rPr>
              <a:t> </a:t>
            </a:r>
            <a:r>
              <a:rPr kumimoji="0" lang="en-US" sz="4400" b="1" i="0" u="none" strike="noStrike" kern="1200" cap="none" spc="-150" normalizeH="0" baseline="0" noProof="0">
                <a:ln>
                  <a:noFill/>
                </a:ln>
                <a:solidFill>
                  <a:sysClr val="windowText" lastClr="000000"/>
                </a:solidFill>
                <a:effectLst/>
                <a:uLnTx/>
                <a:uFillTx/>
                <a:latin typeface="Gilroy ExtraBold" panose="00000900000000000000" pitchFamily="50" charset="0"/>
                <a:ea typeface="+mn-ea"/>
              </a:rPr>
              <a:t>Support</a:t>
            </a:r>
            <a:br>
              <a:rPr kumimoji="0" lang="en-US" sz="4400" b="1" i="0" u="none" strike="noStrike" kern="1200" cap="none" spc="-150" normalizeH="0" baseline="0" noProof="0">
                <a:ln>
                  <a:noFill/>
                </a:ln>
                <a:solidFill>
                  <a:sysClr val="windowText" lastClr="000000"/>
                </a:solidFill>
                <a:effectLst/>
                <a:uLnTx/>
                <a:uFillTx/>
                <a:latin typeface="Gilroy ExtraBold" panose="00000900000000000000" pitchFamily="50" charset="0"/>
                <a:ea typeface="+mn-ea"/>
              </a:rPr>
            </a:br>
            <a:r>
              <a:rPr kumimoji="0" lang="en-US" sz="4400" b="1" i="0" u="none" strike="noStrike" kern="1200" cap="none" spc="-150" normalizeH="0" baseline="0" noProof="0">
                <a:ln>
                  <a:noFill/>
                </a:ln>
                <a:solidFill>
                  <a:sysClr val="windowText" lastClr="000000"/>
                </a:solidFill>
                <a:effectLst/>
                <a:uLnTx/>
                <a:uFillTx/>
                <a:latin typeface="Gilroy ExtraBold" panose="00000900000000000000" pitchFamily="50" charset="0"/>
                <a:ea typeface="+mn-ea"/>
              </a:rPr>
              <a:t>Students Financial </a:t>
            </a:r>
            <a:r>
              <a:rPr kumimoji="0" lang="en-US" sz="4400" b="1" i="0" u="none" strike="noStrike" kern="1200" cap="none" spc="-150" normalizeH="0" baseline="0" noProof="0">
                <a:ln>
                  <a:noFill/>
                </a:ln>
                <a:solidFill>
                  <a:srgbClr val="8C2332"/>
                </a:solidFill>
                <a:effectLst/>
                <a:uLnTx/>
                <a:uFillTx/>
                <a:latin typeface="Gilroy ExtraBold" panose="00000900000000000000" pitchFamily="50" charset="0"/>
                <a:ea typeface="+mn-ea"/>
              </a:rPr>
              <a:t>Independence</a:t>
            </a:r>
          </a:p>
        </p:txBody>
      </p:sp>
      <p:sp>
        <p:nvSpPr>
          <p:cNvPr id="26" name="Rectangle 25">
            <a:extLst>
              <a:ext uri="{FF2B5EF4-FFF2-40B4-BE49-F238E27FC236}">
                <a16:creationId xmlns:a16="http://schemas.microsoft.com/office/drawing/2014/main" id="{45797A6C-A79C-4C60-B4F4-EB57BF70CF4B}"/>
              </a:ext>
            </a:extLst>
          </p:cNvPr>
          <p:cNvSpPr/>
          <p:nvPr/>
        </p:nvSpPr>
        <p:spPr>
          <a:xfrm>
            <a:off x="0" y="1001054"/>
            <a:ext cx="384464" cy="1274617"/>
          </a:xfrm>
          <a:prstGeom prst="rect">
            <a:avLst/>
          </a:prstGeom>
          <a:solidFill>
            <a:srgbClr val="8C2332"/>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38" name="Group 37">
            <a:extLst>
              <a:ext uri="{FF2B5EF4-FFF2-40B4-BE49-F238E27FC236}">
                <a16:creationId xmlns:a16="http://schemas.microsoft.com/office/drawing/2014/main" id="{E5D27CCB-BB56-44B9-88E3-A89C8B900E3A}"/>
              </a:ext>
            </a:extLst>
          </p:cNvPr>
          <p:cNvGrpSpPr/>
          <p:nvPr/>
        </p:nvGrpSpPr>
        <p:grpSpPr>
          <a:xfrm>
            <a:off x="8225224" y="3408760"/>
            <a:ext cx="3369635" cy="2454416"/>
            <a:chOff x="8225223" y="3408760"/>
            <a:chExt cx="3369635" cy="2454416"/>
          </a:xfrm>
        </p:grpSpPr>
        <p:sp>
          <p:nvSpPr>
            <p:cNvPr id="24" name="Text Placeholder 20">
              <a:extLst>
                <a:ext uri="{FF2B5EF4-FFF2-40B4-BE49-F238E27FC236}">
                  <a16:creationId xmlns:a16="http://schemas.microsoft.com/office/drawing/2014/main" id="{D7818930-0258-4A20-A681-3BC6EB190CE4}"/>
                </a:ext>
              </a:extLst>
            </p:cNvPr>
            <p:cNvSpPr txBox="1">
              <a:spLocks/>
            </p:cNvSpPr>
            <p:nvPr/>
          </p:nvSpPr>
          <p:spPr>
            <a:xfrm>
              <a:off x="8225224" y="4716067"/>
              <a:ext cx="3369633" cy="1147109"/>
            </a:xfrm>
            <a:prstGeom prst="rect">
              <a:avLst/>
            </a:prstGeom>
          </p:spPr>
          <p:txBody>
            <a:bodyPr wrap="square" lIns="91440" tIns="45720" rIns="91440" bIns="45720" anchor="t">
              <a:spAutoFit/>
            </a:bodyPr>
            <a:lstStyle>
              <a:lvl1pPr marL="0" indent="0" algn="l" defTabSz="914400" rtl="0" eaLnBrk="1" latinLnBrk="0" hangingPunct="1">
                <a:lnSpc>
                  <a:spcPct val="150000"/>
                </a:lnSpc>
                <a:spcBef>
                  <a:spcPts val="1000"/>
                </a:spcBef>
                <a:buFont typeface="Arial" panose="020B0604020202020204" pitchFamily="34" charset="0"/>
                <a:buNone/>
                <a:defRPr sz="1200" b="0" i="0" kern="120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5000"/>
                </a:lnSpc>
                <a:spcBef>
                  <a:spcPts val="1000"/>
                </a:spcBef>
                <a:spcAft>
                  <a:spcPts val="0"/>
                </a:spcAft>
                <a:buClrTx/>
                <a:buSzTx/>
                <a:buFont typeface="Arial" panose="020B0604020202020204" pitchFamily="34" charset="0"/>
                <a:buNone/>
                <a:tabLst/>
                <a:defRPr/>
              </a:pPr>
              <a:r>
                <a:rPr kumimoji="0" lang="en-ID" sz="1400" b="0" i="0" u="none" strike="noStrike" kern="1200" cap="none" spc="0" normalizeH="0" baseline="0" noProof="0">
                  <a:ln>
                    <a:noFill/>
                  </a:ln>
                  <a:solidFill>
                    <a:srgbClr val="44546A">
                      <a:lumMod val="75000"/>
                    </a:srgbClr>
                  </a:solidFill>
                  <a:effectLst/>
                  <a:uLnTx/>
                  <a:uFillTx/>
                  <a:latin typeface="Klinic Slab Book"/>
                  <a:ea typeface="Open Sans"/>
                  <a:cs typeface="Open Sans"/>
                </a:rPr>
                <a:t>Membership extends to all family members, and you can link external accounts and customize shared access to Online Banking, Mobile banking, and Apple Pay ready. </a:t>
              </a:r>
              <a:endParaRPr kumimoji="0" lang="en-US" sz="1400" b="0" i="0" u="none" strike="noStrike" kern="1200" cap="none" spc="0" normalizeH="0" baseline="0" noProof="0">
                <a:ln>
                  <a:noFill/>
                </a:ln>
                <a:solidFill>
                  <a:srgbClr val="44546A">
                    <a:lumMod val="75000"/>
                  </a:srgbClr>
                </a:solidFill>
                <a:effectLst/>
                <a:uLnTx/>
                <a:uFillTx/>
                <a:latin typeface="Klinic Slab Book" pitchFamily="50" charset="0"/>
                <a:ea typeface="Open Sans" panose="020B0606030504020204" pitchFamily="34" charset="0"/>
                <a:cs typeface="Open Sans" panose="020B0606030504020204" pitchFamily="34" charset="0"/>
              </a:endParaRPr>
            </a:p>
          </p:txBody>
        </p:sp>
        <p:sp>
          <p:nvSpPr>
            <p:cNvPr id="25" name="Text Placeholder 21">
              <a:extLst>
                <a:ext uri="{FF2B5EF4-FFF2-40B4-BE49-F238E27FC236}">
                  <a16:creationId xmlns:a16="http://schemas.microsoft.com/office/drawing/2014/main" id="{D39DB33B-CE62-4FFF-B690-60F29825C9FB}"/>
                </a:ext>
              </a:extLst>
            </p:cNvPr>
            <p:cNvSpPr txBox="1">
              <a:spLocks/>
            </p:cNvSpPr>
            <p:nvPr/>
          </p:nvSpPr>
          <p:spPr>
            <a:xfrm>
              <a:off x="8225223" y="4301201"/>
              <a:ext cx="3369635" cy="347132"/>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600" b="1" i="0" kern="120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ysClr val="windowText" lastClr="000000"/>
                  </a:solidFill>
                  <a:effectLst/>
                  <a:uLnTx/>
                  <a:uFillTx/>
                  <a:latin typeface="Gilroy Bold" panose="00000800000000000000" pitchFamily="50" charset="0"/>
                  <a:ea typeface="Open Sans" panose="020B0606030504020204" pitchFamily="34" charset="0"/>
                </a:rPr>
                <a:t>Access For All</a:t>
              </a:r>
            </a:p>
          </p:txBody>
        </p:sp>
        <p:grpSp>
          <p:nvGrpSpPr>
            <p:cNvPr id="27" name="Group 26">
              <a:extLst>
                <a:ext uri="{FF2B5EF4-FFF2-40B4-BE49-F238E27FC236}">
                  <a16:creationId xmlns:a16="http://schemas.microsoft.com/office/drawing/2014/main" id="{8986A780-50A8-4708-A869-6A626C923B08}"/>
                </a:ext>
              </a:extLst>
            </p:cNvPr>
            <p:cNvGrpSpPr/>
            <p:nvPr/>
          </p:nvGrpSpPr>
          <p:grpSpPr>
            <a:xfrm>
              <a:off x="8225223" y="3408760"/>
              <a:ext cx="599431" cy="689327"/>
              <a:chOff x="8225223" y="3408760"/>
              <a:chExt cx="599431" cy="689327"/>
            </a:xfrm>
          </p:grpSpPr>
          <p:sp>
            <p:nvSpPr>
              <p:cNvPr id="28" name="Oval 27">
                <a:extLst>
                  <a:ext uri="{FF2B5EF4-FFF2-40B4-BE49-F238E27FC236}">
                    <a16:creationId xmlns:a16="http://schemas.microsoft.com/office/drawing/2014/main" id="{2A987DC5-94AF-46B7-8C83-C71B19336F6F}"/>
                  </a:ext>
                </a:extLst>
              </p:cNvPr>
              <p:cNvSpPr/>
              <p:nvPr/>
            </p:nvSpPr>
            <p:spPr>
              <a:xfrm>
                <a:off x="8240908" y="3529401"/>
                <a:ext cx="568685" cy="568686"/>
              </a:xfrm>
              <a:prstGeom prst="ellipse">
                <a:avLst/>
              </a:prstGeom>
              <a:solidFill>
                <a:srgbClr val="6C0008">
                  <a:alpha val="25098"/>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29" name="Graphic 28">
                <a:extLst>
                  <a:ext uri="{FF2B5EF4-FFF2-40B4-BE49-F238E27FC236}">
                    <a16:creationId xmlns:a16="http://schemas.microsoft.com/office/drawing/2014/main" id="{44D3562A-9011-4621-9411-04EDF2FDABCF}"/>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8225223" y="3408760"/>
                <a:ext cx="599431" cy="599431"/>
              </a:xfrm>
              <a:prstGeom prst="rect">
                <a:avLst/>
              </a:prstGeom>
            </p:spPr>
          </p:pic>
        </p:grpSp>
      </p:grpSp>
      <p:grpSp>
        <p:nvGrpSpPr>
          <p:cNvPr id="36" name="Group 35">
            <a:extLst>
              <a:ext uri="{FF2B5EF4-FFF2-40B4-BE49-F238E27FC236}">
                <a16:creationId xmlns:a16="http://schemas.microsoft.com/office/drawing/2014/main" id="{C308B1F1-4F4A-4867-8320-2C38F47DCC18}"/>
              </a:ext>
            </a:extLst>
          </p:cNvPr>
          <p:cNvGrpSpPr/>
          <p:nvPr/>
        </p:nvGrpSpPr>
        <p:grpSpPr>
          <a:xfrm>
            <a:off x="597138" y="3402551"/>
            <a:ext cx="3369635" cy="2741246"/>
            <a:chOff x="597138" y="3402551"/>
            <a:chExt cx="3369635" cy="2741246"/>
          </a:xfrm>
        </p:grpSpPr>
        <p:sp>
          <p:nvSpPr>
            <p:cNvPr id="20" name="Text Placeholder 16">
              <a:extLst>
                <a:ext uri="{FF2B5EF4-FFF2-40B4-BE49-F238E27FC236}">
                  <a16:creationId xmlns:a16="http://schemas.microsoft.com/office/drawing/2014/main" id="{81D6925E-DD95-4D8E-9D99-4538FEF291A0}"/>
                </a:ext>
              </a:extLst>
            </p:cNvPr>
            <p:cNvSpPr txBox="1">
              <a:spLocks/>
            </p:cNvSpPr>
            <p:nvPr/>
          </p:nvSpPr>
          <p:spPr>
            <a:xfrm>
              <a:off x="597141" y="4702925"/>
              <a:ext cx="3243337" cy="1440872"/>
            </a:xfrm>
            <a:prstGeom prst="rect">
              <a:avLst/>
            </a:prstGeom>
          </p:spPr>
          <p:txBody>
            <a:bodyPr wrap="square">
              <a:spAutoFit/>
            </a:bodyPr>
            <a:lstStyle>
              <a:lvl1pPr marL="0" indent="0" algn="l" defTabSz="914400" rtl="0" eaLnBrk="1" latinLnBrk="0" hangingPunct="1">
                <a:lnSpc>
                  <a:spcPct val="150000"/>
                </a:lnSpc>
                <a:spcBef>
                  <a:spcPts val="1000"/>
                </a:spcBef>
                <a:buFont typeface="Arial" panose="020B0604020202020204" pitchFamily="34" charset="0"/>
                <a:buNone/>
                <a:defRPr sz="1200" b="0" i="0" kern="120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25000"/>
                </a:lnSpc>
                <a:spcBef>
                  <a:spcPts val="1000"/>
                </a:spcBef>
                <a:spcAft>
                  <a:spcPts val="0"/>
                </a:spcAft>
                <a:buClrTx/>
                <a:buSzTx/>
                <a:buFont typeface="Arial" panose="020B0604020202020204" pitchFamily="34" charset="0"/>
                <a:buNone/>
                <a:tabLst/>
                <a:defRPr/>
              </a:pPr>
              <a:r>
                <a:rPr kumimoji="0" lang="en-ID" sz="1400" b="0" i="0" u="none" strike="noStrike" kern="1200" cap="none" spc="0" normalizeH="0" baseline="0" noProof="0">
                  <a:ln>
                    <a:noFill/>
                  </a:ln>
                  <a:solidFill>
                    <a:srgbClr val="44546A">
                      <a:lumMod val="75000"/>
                    </a:srgbClr>
                  </a:solidFill>
                  <a:effectLst/>
                  <a:uLnTx/>
                  <a:uFillTx/>
                  <a:latin typeface="Klinic Slab Book" pitchFamily="50" charset="0"/>
                  <a:ea typeface="Open Sans" panose="020B0606030504020204" pitchFamily="34" charset="0"/>
                  <a:cs typeface="Open Sans" panose="020B0606030504020204" pitchFamily="34" charset="0"/>
                </a:rPr>
                <a:t>HUECU offers personal finance sessions and access to </a:t>
              </a:r>
              <a:r>
                <a:rPr kumimoji="0" lang="en-ID" sz="1400" b="0" i="0" u="none" strike="noStrike" kern="1200" cap="none" spc="0" normalizeH="0" baseline="0" noProof="0" err="1">
                  <a:ln>
                    <a:noFill/>
                  </a:ln>
                  <a:solidFill>
                    <a:srgbClr val="44546A">
                      <a:lumMod val="75000"/>
                    </a:srgbClr>
                  </a:solidFill>
                  <a:effectLst/>
                  <a:uLnTx/>
                  <a:uFillTx/>
                  <a:latin typeface="Klinic Slab Book" pitchFamily="50" charset="0"/>
                  <a:ea typeface="Open Sans" panose="020B0606030504020204" pitchFamily="34" charset="0"/>
                  <a:cs typeface="Open Sans" panose="020B0606030504020204" pitchFamily="34" charset="0"/>
                </a:rPr>
                <a:t>GreenPath</a:t>
              </a:r>
              <a:r>
                <a:rPr kumimoji="0" lang="en-ID" sz="1400" b="0" i="0" u="none" strike="noStrike" kern="1200" cap="none" spc="0" normalizeH="0" baseline="0" noProof="0">
                  <a:ln>
                    <a:noFill/>
                  </a:ln>
                  <a:solidFill>
                    <a:srgbClr val="44546A">
                      <a:lumMod val="75000"/>
                    </a:srgbClr>
                  </a:solidFill>
                  <a:effectLst/>
                  <a:uLnTx/>
                  <a:uFillTx/>
                  <a:latin typeface="Klinic Slab Book" pitchFamily="50" charset="0"/>
                  <a:ea typeface="Open Sans" panose="020B0606030504020204" pitchFamily="34" charset="0"/>
                  <a:cs typeface="Open Sans" panose="020B0606030504020204" pitchFamily="34" charset="0"/>
                </a:rPr>
                <a:t> Financial Wellness. College life is student friendly designed with the Harvard Undergraduate in mind. </a:t>
              </a:r>
              <a:endParaRPr kumimoji="0" lang="en-US" sz="1400" b="0" i="0" u="none" strike="noStrike" kern="1200" cap="none" spc="0" normalizeH="0" baseline="0" noProof="0">
                <a:ln>
                  <a:noFill/>
                </a:ln>
                <a:solidFill>
                  <a:srgbClr val="44546A">
                    <a:lumMod val="75000"/>
                  </a:srgbClr>
                </a:solidFill>
                <a:effectLst/>
                <a:uLnTx/>
                <a:uFillTx/>
                <a:latin typeface="Klinic Slab Book" pitchFamily="50" charset="0"/>
                <a:ea typeface="Open Sans" panose="020B0606030504020204" pitchFamily="34" charset="0"/>
                <a:cs typeface="Open Sans" panose="020B0606030504020204" pitchFamily="34" charset="0"/>
              </a:endParaRPr>
            </a:p>
          </p:txBody>
        </p:sp>
        <p:sp>
          <p:nvSpPr>
            <p:cNvPr id="21" name="Text Placeholder 17">
              <a:extLst>
                <a:ext uri="{FF2B5EF4-FFF2-40B4-BE49-F238E27FC236}">
                  <a16:creationId xmlns:a16="http://schemas.microsoft.com/office/drawing/2014/main" id="{DD1D6DF8-8078-4A7F-8FAA-8E7C22009663}"/>
                </a:ext>
              </a:extLst>
            </p:cNvPr>
            <p:cNvSpPr txBox="1">
              <a:spLocks/>
            </p:cNvSpPr>
            <p:nvPr/>
          </p:nvSpPr>
          <p:spPr>
            <a:xfrm>
              <a:off x="597138" y="4301201"/>
              <a:ext cx="3369635" cy="347132"/>
            </a:xfrm>
            <a:prstGeom prst="rect">
              <a:avLst/>
            </a:prstGeom>
          </p:spPr>
          <p:txBody>
            <a:bodyPr/>
            <a:lstStyle>
              <a:lvl1pPr marL="0" indent="0" algn="l" defTabSz="914400" rtl="0" eaLnBrk="1" latinLnBrk="0" hangingPunct="1">
                <a:lnSpc>
                  <a:spcPct val="100000"/>
                </a:lnSpc>
                <a:spcBef>
                  <a:spcPts val="1000"/>
                </a:spcBef>
                <a:buFont typeface="Arial" panose="020B0604020202020204" pitchFamily="34" charset="0"/>
                <a:buNone/>
                <a:defRPr sz="1600" b="1" i="0" kern="120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ysClr val="windowText" lastClr="000000"/>
                  </a:solidFill>
                  <a:effectLst/>
                  <a:uLnTx/>
                  <a:uFillTx/>
                  <a:latin typeface="Gilroy Bold" panose="00000800000000000000" pitchFamily="50" charset="0"/>
                  <a:ea typeface="Open Sans" panose="020B0606030504020204" pitchFamily="34" charset="0"/>
                </a:rPr>
                <a:t>Student Focused</a:t>
              </a:r>
            </a:p>
          </p:txBody>
        </p:sp>
        <p:grpSp>
          <p:nvGrpSpPr>
            <p:cNvPr id="30" name="Group 29">
              <a:extLst>
                <a:ext uri="{FF2B5EF4-FFF2-40B4-BE49-F238E27FC236}">
                  <a16:creationId xmlns:a16="http://schemas.microsoft.com/office/drawing/2014/main" id="{B9F4C13D-686C-4FCC-A315-CE9804F14BF1}"/>
                </a:ext>
              </a:extLst>
            </p:cNvPr>
            <p:cNvGrpSpPr/>
            <p:nvPr/>
          </p:nvGrpSpPr>
          <p:grpSpPr>
            <a:xfrm>
              <a:off x="597138" y="3402551"/>
              <a:ext cx="797805" cy="695536"/>
              <a:chOff x="597138" y="3402551"/>
              <a:chExt cx="797805" cy="695536"/>
            </a:xfrm>
          </p:grpSpPr>
          <p:sp>
            <p:nvSpPr>
              <p:cNvPr id="31" name="Oval 30">
                <a:extLst>
                  <a:ext uri="{FF2B5EF4-FFF2-40B4-BE49-F238E27FC236}">
                    <a16:creationId xmlns:a16="http://schemas.microsoft.com/office/drawing/2014/main" id="{CB77578D-65F4-4926-AB85-15927DF3DB27}"/>
                  </a:ext>
                </a:extLst>
              </p:cNvPr>
              <p:cNvSpPr/>
              <p:nvPr/>
            </p:nvSpPr>
            <p:spPr>
              <a:xfrm>
                <a:off x="597138" y="3529401"/>
                <a:ext cx="568685" cy="568686"/>
              </a:xfrm>
              <a:prstGeom prst="ellipse">
                <a:avLst/>
              </a:prstGeom>
              <a:solidFill>
                <a:srgbClr val="6C0008">
                  <a:alpha val="25098"/>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2" name="Graphic 209">
                <a:extLst>
                  <a:ext uri="{FF2B5EF4-FFF2-40B4-BE49-F238E27FC236}">
                    <a16:creationId xmlns:a16="http://schemas.microsoft.com/office/drawing/2014/main" id="{D4C5627E-289F-4C66-B20D-755074EB82B1}"/>
                  </a:ext>
                </a:extLst>
              </p:cNvPr>
              <p:cNvSpPr/>
              <p:nvPr/>
            </p:nvSpPr>
            <p:spPr>
              <a:xfrm>
                <a:off x="771092" y="3402551"/>
                <a:ext cx="623851" cy="605640"/>
              </a:xfrm>
              <a:custGeom>
                <a:avLst/>
                <a:gdLst>
                  <a:gd name="connsiteX0" fmla="*/ 466717 w 511237"/>
                  <a:gd name="connsiteY0" fmla="*/ 20189 h 496314"/>
                  <a:gd name="connsiteX1" fmla="*/ 450758 w 511237"/>
                  <a:gd name="connsiteY1" fmla="*/ 1220 h 496314"/>
                  <a:gd name="connsiteX2" fmla="*/ 426391 w 511237"/>
                  <a:gd name="connsiteY2" fmla="*/ 6846 h 496314"/>
                  <a:gd name="connsiteX3" fmla="*/ 363109 w 511237"/>
                  <a:gd name="connsiteY3" fmla="*/ 69113 h 496314"/>
                  <a:gd name="connsiteX4" fmla="*/ 356373 w 511237"/>
                  <a:gd name="connsiteY4" fmla="*/ 88822 h 496314"/>
                  <a:gd name="connsiteX5" fmla="*/ 359392 w 511237"/>
                  <a:gd name="connsiteY5" fmla="*/ 110430 h 496314"/>
                  <a:gd name="connsiteX6" fmla="*/ 357021 w 511237"/>
                  <a:gd name="connsiteY6" fmla="*/ 112475 h 496314"/>
                  <a:gd name="connsiteX7" fmla="*/ 347483 w 511237"/>
                  <a:gd name="connsiteY7" fmla="*/ 121861 h 496314"/>
                  <a:gd name="connsiteX8" fmla="*/ 213767 w 511237"/>
                  <a:gd name="connsiteY8" fmla="*/ 75640 h 496314"/>
                  <a:gd name="connsiteX9" fmla="*/ 0 w 511237"/>
                  <a:gd name="connsiteY9" fmla="*/ 285977 h 496314"/>
                  <a:gd name="connsiteX10" fmla="*/ 213767 w 511237"/>
                  <a:gd name="connsiteY10" fmla="*/ 496314 h 496314"/>
                  <a:gd name="connsiteX11" fmla="*/ 427534 w 511237"/>
                  <a:gd name="connsiteY11" fmla="*/ 285977 h 496314"/>
                  <a:gd name="connsiteX12" fmla="*/ 381016 w 511237"/>
                  <a:gd name="connsiteY12" fmla="*/ 154969 h 496314"/>
                  <a:gd name="connsiteX13" fmla="*/ 388158 w 511237"/>
                  <a:gd name="connsiteY13" fmla="*/ 147941 h 496314"/>
                  <a:gd name="connsiteX14" fmla="*/ 420966 w 511237"/>
                  <a:gd name="connsiteY14" fmla="*/ 152380 h 496314"/>
                  <a:gd name="connsiteX15" fmla="*/ 440996 w 511237"/>
                  <a:gd name="connsiteY15" fmla="*/ 145752 h 496314"/>
                  <a:gd name="connsiteX16" fmla="*/ 504281 w 511237"/>
                  <a:gd name="connsiteY16" fmla="*/ 83484 h 496314"/>
                  <a:gd name="connsiteX17" fmla="*/ 509998 w 511237"/>
                  <a:gd name="connsiteY17" fmla="*/ 59510 h 496314"/>
                  <a:gd name="connsiteX18" fmla="*/ 490721 w 511237"/>
                  <a:gd name="connsiteY18" fmla="*/ 43806 h 496314"/>
                  <a:gd name="connsiteX19" fmla="*/ 469617 w 511237"/>
                  <a:gd name="connsiteY19" fmla="*/ 40951 h 496314"/>
                  <a:gd name="connsiteX20" fmla="*/ 466717 w 511237"/>
                  <a:gd name="connsiteY20" fmla="*/ 20189 h 496314"/>
                  <a:gd name="connsiteX21" fmla="*/ 405041 w 511237"/>
                  <a:gd name="connsiteY21" fmla="*/ 93956 h 496314"/>
                  <a:gd name="connsiteX22" fmla="*/ 427265 w 511237"/>
                  <a:gd name="connsiteY22" fmla="*/ 72088 h 496314"/>
                  <a:gd name="connsiteX23" fmla="*/ 437975 w 511237"/>
                  <a:gd name="connsiteY23" fmla="*/ 82624 h 496314"/>
                  <a:gd name="connsiteX24" fmla="*/ 415748 w 511237"/>
                  <a:gd name="connsiteY24" fmla="*/ 104492 h 496314"/>
                  <a:gd name="connsiteX25" fmla="*/ 406335 w 511237"/>
                  <a:gd name="connsiteY25" fmla="*/ 103219 h 496314"/>
                  <a:gd name="connsiteX26" fmla="*/ 405041 w 511237"/>
                  <a:gd name="connsiteY26" fmla="*/ 93956 h 496314"/>
                  <a:gd name="connsiteX27" fmla="*/ 380030 w 511237"/>
                  <a:gd name="connsiteY27" fmla="*/ 285977 h 496314"/>
                  <a:gd name="connsiteX28" fmla="*/ 213767 w 511237"/>
                  <a:gd name="connsiteY28" fmla="*/ 449573 h 496314"/>
                  <a:gd name="connsiteX29" fmla="*/ 47504 w 511237"/>
                  <a:gd name="connsiteY29" fmla="*/ 285977 h 496314"/>
                  <a:gd name="connsiteX30" fmla="*/ 213767 w 511237"/>
                  <a:gd name="connsiteY30" fmla="*/ 122381 h 496314"/>
                  <a:gd name="connsiteX31" fmla="*/ 313632 w 511237"/>
                  <a:gd name="connsiteY31" fmla="*/ 155168 h 496314"/>
                  <a:gd name="connsiteX32" fmla="*/ 279569 w 511237"/>
                  <a:gd name="connsiteY32" fmla="*/ 188685 h 496314"/>
                  <a:gd name="connsiteX33" fmla="*/ 213767 w 511237"/>
                  <a:gd name="connsiteY33" fmla="*/ 169123 h 496314"/>
                  <a:gd name="connsiteX34" fmla="*/ 95007 w 511237"/>
                  <a:gd name="connsiteY34" fmla="*/ 285977 h 496314"/>
                  <a:gd name="connsiteX35" fmla="*/ 213767 w 511237"/>
                  <a:gd name="connsiteY35" fmla="*/ 402831 h 496314"/>
                  <a:gd name="connsiteX36" fmla="*/ 332526 w 511237"/>
                  <a:gd name="connsiteY36" fmla="*/ 285977 h 496314"/>
                  <a:gd name="connsiteX37" fmla="*/ 313054 w 511237"/>
                  <a:gd name="connsiteY37" fmla="*/ 221840 h 496314"/>
                  <a:gd name="connsiteX38" fmla="*/ 347150 w 511237"/>
                  <a:gd name="connsiteY38" fmla="*/ 188292 h 496314"/>
                  <a:gd name="connsiteX39" fmla="*/ 380030 w 511237"/>
                  <a:gd name="connsiteY39" fmla="*/ 285977 h 496314"/>
                  <a:gd name="connsiteX40" fmla="*/ 213767 w 511237"/>
                  <a:gd name="connsiteY40" fmla="*/ 215864 h 496314"/>
                  <a:gd name="connsiteX41" fmla="*/ 244834 w 511237"/>
                  <a:gd name="connsiteY41" fmla="*/ 222862 h 496314"/>
                  <a:gd name="connsiteX42" fmla="*/ 204409 w 511237"/>
                  <a:gd name="connsiteY42" fmla="*/ 262639 h 496314"/>
                  <a:gd name="connsiteX43" fmla="*/ 204409 w 511237"/>
                  <a:gd name="connsiteY43" fmla="*/ 295690 h 496314"/>
                  <a:gd name="connsiteX44" fmla="*/ 237998 w 511237"/>
                  <a:gd name="connsiteY44" fmla="*/ 295690 h 496314"/>
                  <a:gd name="connsiteX45" fmla="*/ 278244 w 511237"/>
                  <a:gd name="connsiteY45" fmla="*/ 256093 h 496314"/>
                  <a:gd name="connsiteX46" fmla="*/ 285022 w 511237"/>
                  <a:gd name="connsiteY46" fmla="*/ 285977 h 496314"/>
                  <a:gd name="connsiteX47" fmla="*/ 213767 w 511237"/>
                  <a:gd name="connsiteY47" fmla="*/ 356089 h 496314"/>
                  <a:gd name="connsiteX48" fmla="*/ 142511 w 511237"/>
                  <a:gd name="connsiteY48" fmla="*/ 285977 h 496314"/>
                  <a:gd name="connsiteX49" fmla="*/ 213767 w 511237"/>
                  <a:gd name="connsiteY49" fmla="*/ 215864 h 496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Lst>
                <a:rect l="l" t="t" r="r" b="b"/>
                <a:pathLst>
                  <a:path w="511237" h="496314">
                    <a:moveTo>
                      <a:pt x="466717" y="20189"/>
                    </a:moveTo>
                    <a:cubicBezTo>
                      <a:pt x="465489" y="11397"/>
                      <a:pt x="459307" y="4048"/>
                      <a:pt x="450758" y="1220"/>
                    </a:cubicBezTo>
                    <a:cubicBezTo>
                      <a:pt x="442208" y="-1609"/>
                      <a:pt x="432769" y="571"/>
                      <a:pt x="426391" y="6846"/>
                    </a:cubicBezTo>
                    <a:lnTo>
                      <a:pt x="363109" y="69113"/>
                    </a:lnTo>
                    <a:cubicBezTo>
                      <a:pt x="357853" y="74284"/>
                      <a:pt x="355361" y="81577"/>
                      <a:pt x="356373" y="88822"/>
                    </a:cubicBezTo>
                    <a:lnTo>
                      <a:pt x="359392" y="110430"/>
                    </a:lnTo>
                    <a:cubicBezTo>
                      <a:pt x="358568" y="111051"/>
                      <a:pt x="357777" y="111733"/>
                      <a:pt x="357021" y="112475"/>
                    </a:cubicBezTo>
                    <a:lnTo>
                      <a:pt x="347483" y="121861"/>
                    </a:lnTo>
                    <a:cubicBezTo>
                      <a:pt x="310869" y="92941"/>
                      <a:pt x="264373" y="75640"/>
                      <a:pt x="213767" y="75640"/>
                    </a:cubicBezTo>
                    <a:cubicBezTo>
                      <a:pt x="95707" y="75640"/>
                      <a:pt x="0" y="169811"/>
                      <a:pt x="0" y="285977"/>
                    </a:cubicBezTo>
                    <a:cubicBezTo>
                      <a:pt x="0" y="402144"/>
                      <a:pt x="95707" y="496314"/>
                      <a:pt x="213767" y="496314"/>
                    </a:cubicBezTo>
                    <a:cubicBezTo>
                      <a:pt x="331828" y="496314"/>
                      <a:pt x="427534" y="402144"/>
                      <a:pt x="427534" y="285977"/>
                    </a:cubicBezTo>
                    <a:cubicBezTo>
                      <a:pt x="427534" y="236442"/>
                      <a:pt x="410133" y="190908"/>
                      <a:pt x="381016" y="154969"/>
                    </a:cubicBezTo>
                    <a:lnTo>
                      <a:pt x="388158" y="147941"/>
                    </a:lnTo>
                    <a:lnTo>
                      <a:pt x="420966" y="152380"/>
                    </a:lnTo>
                    <a:cubicBezTo>
                      <a:pt x="428329" y="153375"/>
                      <a:pt x="435742" y="150923"/>
                      <a:pt x="440996" y="145752"/>
                    </a:cubicBezTo>
                    <a:lnTo>
                      <a:pt x="504281" y="83484"/>
                    </a:lnTo>
                    <a:cubicBezTo>
                      <a:pt x="510658" y="77209"/>
                      <a:pt x="512872" y="67921"/>
                      <a:pt x="509998" y="59510"/>
                    </a:cubicBezTo>
                    <a:cubicBezTo>
                      <a:pt x="507124" y="51098"/>
                      <a:pt x="499654" y="45014"/>
                      <a:pt x="490721" y="43806"/>
                    </a:cubicBezTo>
                    <a:lnTo>
                      <a:pt x="469617" y="40951"/>
                    </a:lnTo>
                    <a:lnTo>
                      <a:pt x="466717" y="20189"/>
                    </a:lnTo>
                    <a:close/>
                    <a:moveTo>
                      <a:pt x="405041" y="93956"/>
                    </a:moveTo>
                    <a:lnTo>
                      <a:pt x="427265" y="72088"/>
                    </a:lnTo>
                    <a:cubicBezTo>
                      <a:pt x="429569" y="76650"/>
                      <a:pt x="433339" y="80357"/>
                      <a:pt x="437975" y="82624"/>
                    </a:cubicBezTo>
                    <a:lnTo>
                      <a:pt x="415748" y="104492"/>
                    </a:lnTo>
                    <a:lnTo>
                      <a:pt x="406335" y="103219"/>
                    </a:lnTo>
                    <a:lnTo>
                      <a:pt x="405041" y="93956"/>
                    </a:lnTo>
                    <a:close/>
                    <a:moveTo>
                      <a:pt x="380030" y="285977"/>
                    </a:moveTo>
                    <a:cubicBezTo>
                      <a:pt x="380030" y="376329"/>
                      <a:pt x="305592" y="449573"/>
                      <a:pt x="213767" y="449573"/>
                    </a:cubicBezTo>
                    <a:cubicBezTo>
                      <a:pt x="121942" y="449573"/>
                      <a:pt x="47504" y="376329"/>
                      <a:pt x="47504" y="285977"/>
                    </a:cubicBezTo>
                    <a:cubicBezTo>
                      <a:pt x="47504" y="195625"/>
                      <a:pt x="121942" y="122381"/>
                      <a:pt x="213767" y="122381"/>
                    </a:cubicBezTo>
                    <a:cubicBezTo>
                      <a:pt x="251245" y="122381"/>
                      <a:pt x="285825" y="134582"/>
                      <a:pt x="313632" y="155168"/>
                    </a:cubicBezTo>
                    <a:lnTo>
                      <a:pt x="279569" y="188685"/>
                    </a:lnTo>
                    <a:cubicBezTo>
                      <a:pt x="260734" y="176326"/>
                      <a:pt x="238105" y="169123"/>
                      <a:pt x="213767" y="169123"/>
                    </a:cubicBezTo>
                    <a:cubicBezTo>
                      <a:pt x="148178" y="169123"/>
                      <a:pt x="95007" y="221441"/>
                      <a:pt x="95007" y="285977"/>
                    </a:cubicBezTo>
                    <a:cubicBezTo>
                      <a:pt x="95007" y="350513"/>
                      <a:pt x="148178" y="402831"/>
                      <a:pt x="213767" y="402831"/>
                    </a:cubicBezTo>
                    <a:cubicBezTo>
                      <a:pt x="279355" y="402831"/>
                      <a:pt x="332526" y="350513"/>
                      <a:pt x="332526" y="285977"/>
                    </a:cubicBezTo>
                    <a:cubicBezTo>
                      <a:pt x="332526" y="262291"/>
                      <a:pt x="325365" y="240252"/>
                      <a:pt x="313054" y="221840"/>
                    </a:cubicBezTo>
                    <a:lnTo>
                      <a:pt x="347150" y="188292"/>
                    </a:lnTo>
                    <a:cubicBezTo>
                      <a:pt x="367805" y="215553"/>
                      <a:pt x="380030" y="249360"/>
                      <a:pt x="380030" y="285977"/>
                    </a:cubicBezTo>
                    <a:close/>
                    <a:moveTo>
                      <a:pt x="213767" y="215864"/>
                    </a:moveTo>
                    <a:cubicBezTo>
                      <a:pt x="224905" y="215864"/>
                      <a:pt x="235445" y="218379"/>
                      <a:pt x="244834" y="222862"/>
                    </a:cubicBezTo>
                    <a:lnTo>
                      <a:pt x="204409" y="262639"/>
                    </a:lnTo>
                    <a:cubicBezTo>
                      <a:pt x="195134" y="271765"/>
                      <a:pt x="195134" y="286564"/>
                      <a:pt x="204409" y="295690"/>
                    </a:cubicBezTo>
                    <a:cubicBezTo>
                      <a:pt x="213685" y="304818"/>
                      <a:pt x="228723" y="304818"/>
                      <a:pt x="237998" y="295690"/>
                    </a:cubicBezTo>
                    <a:lnTo>
                      <a:pt x="278244" y="256093"/>
                    </a:lnTo>
                    <a:cubicBezTo>
                      <a:pt x="282593" y="265158"/>
                      <a:pt x="285022" y="275287"/>
                      <a:pt x="285022" y="285977"/>
                    </a:cubicBezTo>
                    <a:cubicBezTo>
                      <a:pt x="285022" y="324700"/>
                      <a:pt x="253121" y="356089"/>
                      <a:pt x="213767" y="356089"/>
                    </a:cubicBezTo>
                    <a:cubicBezTo>
                      <a:pt x="174414" y="356089"/>
                      <a:pt x="142511" y="324700"/>
                      <a:pt x="142511" y="285977"/>
                    </a:cubicBezTo>
                    <a:cubicBezTo>
                      <a:pt x="142511" y="247254"/>
                      <a:pt x="174414" y="215864"/>
                      <a:pt x="213767" y="215864"/>
                    </a:cubicBezTo>
                    <a:close/>
                  </a:path>
                </a:pathLst>
              </a:custGeom>
              <a:solidFill>
                <a:srgbClr val="6C0008"/>
              </a:solidFill>
              <a:ln w="2360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TL"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37" name="Group 36">
            <a:extLst>
              <a:ext uri="{FF2B5EF4-FFF2-40B4-BE49-F238E27FC236}">
                <a16:creationId xmlns:a16="http://schemas.microsoft.com/office/drawing/2014/main" id="{2B96ACE1-E5A8-4172-B4F5-8EE38B8B2B8E}"/>
              </a:ext>
            </a:extLst>
          </p:cNvPr>
          <p:cNvGrpSpPr/>
          <p:nvPr/>
        </p:nvGrpSpPr>
        <p:grpSpPr>
          <a:xfrm>
            <a:off x="4411181" y="3500226"/>
            <a:ext cx="3369635" cy="1824341"/>
            <a:chOff x="4411180" y="3500226"/>
            <a:chExt cx="3369635" cy="1824341"/>
          </a:xfrm>
        </p:grpSpPr>
        <p:sp>
          <p:nvSpPr>
            <p:cNvPr id="22" name="Text Placeholder 18">
              <a:extLst>
                <a:ext uri="{FF2B5EF4-FFF2-40B4-BE49-F238E27FC236}">
                  <a16:creationId xmlns:a16="http://schemas.microsoft.com/office/drawing/2014/main" id="{CD9AE7BC-6D63-49AD-9266-A08D0E8FD405}"/>
                </a:ext>
              </a:extLst>
            </p:cNvPr>
            <p:cNvSpPr txBox="1">
              <a:spLocks/>
            </p:cNvSpPr>
            <p:nvPr/>
          </p:nvSpPr>
          <p:spPr>
            <a:xfrm>
              <a:off x="4411183" y="4716067"/>
              <a:ext cx="3243340" cy="608500"/>
            </a:xfrm>
            <a:prstGeom prst="rect">
              <a:avLst/>
            </a:prstGeom>
          </p:spPr>
          <p:txBody>
            <a:bodyPr>
              <a:spAutoFit/>
            </a:bodyPr>
            <a:lstStyle>
              <a:defPPr>
                <a:defRPr lang="en-US"/>
              </a:defPPr>
              <a:lvl1pPr marR="0" lvl="0" indent="0" defTabSz="914400" fontAlgn="auto">
                <a:lnSpc>
                  <a:spcPct val="125000"/>
                </a:lnSpc>
                <a:spcBef>
                  <a:spcPts val="1000"/>
                </a:spcBef>
                <a:spcAft>
                  <a:spcPts val="0"/>
                </a:spcAft>
                <a:buClrTx/>
                <a:buSzTx/>
                <a:buFont typeface="Arial" panose="020B0604020202020204" pitchFamily="34" charset="0"/>
                <a:buNone/>
                <a:tabLst/>
                <a:defRPr kumimoji="0" sz="1400" b="0" i="0" u="none" strike="noStrike" cap="none" spc="0" normalizeH="0" baseline="0">
                  <a:ln>
                    <a:noFill/>
                  </a:ln>
                  <a:solidFill>
                    <a:schemeClr val="tx2">
                      <a:lumMod val="75000"/>
                    </a:schemeClr>
                  </a:solidFill>
                  <a:effectLst/>
                  <a:uLnTx/>
                  <a:uFillTx/>
                  <a:latin typeface="Klinic Slab Book" pitchFamily="50" charset="0"/>
                  <a:ea typeface="Open Sans" panose="020B0606030504020204" pitchFamily="34" charset="0"/>
                  <a:cs typeface="Open Sans" panose="020B0606030504020204" pitchFamily="34" charset="0"/>
                </a:defRPr>
              </a:lvl1pPr>
              <a:lvl2pPr marL="685800" indent="-228600" defTabSz="914400">
                <a:lnSpc>
                  <a:spcPct val="90000"/>
                </a:lnSpc>
                <a:spcBef>
                  <a:spcPts val="500"/>
                </a:spcBef>
                <a:buFont typeface="Arial" panose="020B0604020202020204" pitchFamily="34" charset="0"/>
                <a:buChar char="•"/>
                <a:defRPr sz="2400"/>
              </a:lvl2pPr>
              <a:lvl3pPr marL="1143000" indent="-228600" defTabSz="914400">
                <a:lnSpc>
                  <a:spcPct val="90000"/>
                </a:lnSpc>
                <a:spcBef>
                  <a:spcPts val="500"/>
                </a:spcBef>
                <a:buFont typeface="Arial" panose="020B0604020202020204" pitchFamily="34" charset="0"/>
                <a:buChar char="•"/>
                <a:defRPr sz="2000"/>
              </a:lvl3pPr>
              <a:lvl4pPr marL="1600200" indent="-228600" defTabSz="914400">
                <a:lnSpc>
                  <a:spcPct val="90000"/>
                </a:lnSpc>
                <a:spcBef>
                  <a:spcPts val="500"/>
                </a:spcBef>
                <a:buFont typeface="Arial" panose="020B0604020202020204" pitchFamily="34" charset="0"/>
                <a:buChar char="•"/>
              </a:lvl4pPr>
              <a:lvl5pPr marL="2057400" indent="-228600" defTabSz="914400">
                <a:lnSpc>
                  <a:spcPct val="90000"/>
                </a:lnSpc>
                <a:spcBef>
                  <a:spcPts val="500"/>
                </a:spcBef>
                <a:buFont typeface="Arial" panose="020B0604020202020204" pitchFamily="34" charset="0"/>
                <a:buChar char="•"/>
              </a:lvl5pPr>
              <a:lvl6pPr marL="2514600" indent="-228600" defTabSz="914400">
                <a:lnSpc>
                  <a:spcPct val="90000"/>
                </a:lnSpc>
                <a:spcBef>
                  <a:spcPts val="500"/>
                </a:spcBef>
                <a:buFont typeface="Arial" panose="020B0604020202020204" pitchFamily="34" charset="0"/>
                <a:buChar char="•"/>
              </a:lvl6pPr>
              <a:lvl7pPr marL="2971800" indent="-228600" defTabSz="914400">
                <a:lnSpc>
                  <a:spcPct val="90000"/>
                </a:lnSpc>
                <a:spcBef>
                  <a:spcPts val="500"/>
                </a:spcBef>
                <a:buFont typeface="Arial" panose="020B0604020202020204" pitchFamily="34" charset="0"/>
                <a:buChar char="•"/>
              </a:lvl7pPr>
              <a:lvl8pPr marL="3429000" indent="-228600" defTabSz="914400">
                <a:lnSpc>
                  <a:spcPct val="90000"/>
                </a:lnSpc>
                <a:spcBef>
                  <a:spcPts val="500"/>
                </a:spcBef>
                <a:buFont typeface="Arial" panose="020B0604020202020204" pitchFamily="34" charset="0"/>
                <a:buChar char="•"/>
              </a:lvl8pPr>
              <a:lvl9pPr marL="3886200" indent="-228600" defTabSz="9144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25000"/>
                </a:lnSpc>
                <a:spcBef>
                  <a:spcPts val="1000"/>
                </a:spcBef>
                <a:spcAft>
                  <a:spcPts val="0"/>
                </a:spcAft>
                <a:buClrTx/>
                <a:buSzTx/>
                <a:buFont typeface="Arial" panose="020B0604020202020204" pitchFamily="34" charset="0"/>
                <a:buNone/>
                <a:tabLst/>
                <a:defRPr/>
              </a:pPr>
              <a:r>
                <a:rPr kumimoji="0" lang="en-ID" sz="1400" b="0" i="0" u="none" strike="noStrike" kern="1200" cap="none" spc="0" normalizeH="0" baseline="0" noProof="0">
                  <a:ln>
                    <a:noFill/>
                  </a:ln>
                  <a:solidFill>
                    <a:srgbClr val="44546A">
                      <a:lumMod val="75000"/>
                    </a:srgbClr>
                  </a:solidFill>
                  <a:effectLst/>
                  <a:uLnTx/>
                  <a:uFillTx/>
                  <a:latin typeface="Klinic Slab Book" pitchFamily="50" charset="0"/>
                  <a:ea typeface="Open Sans" panose="020B0606030504020204" pitchFamily="34" charset="0"/>
                  <a:cs typeface="Open Sans" panose="020B0606030504020204" pitchFamily="34" charset="0"/>
                </a:rPr>
                <a:t>Fee-free account with FREE incoming wires and FREE incoming bank transfers. </a:t>
              </a:r>
              <a:endParaRPr kumimoji="0" lang="en-US" sz="1400" b="0" i="0" u="none" strike="noStrike" kern="1200" cap="none" spc="0" normalizeH="0" baseline="0" noProof="0">
                <a:ln>
                  <a:noFill/>
                </a:ln>
                <a:solidFill>
                  <a:srgbClr val="44546A">
                    <a:lumMod val="75000"/>
                  </a:srgbClr>
                </a:solidFill>
                <a:effectLst/>
                <a:uLnTx/>
                <a:uFillTx/>
                <a:latin typeface="Klinic Slab Book" pitchFamily="50" charset="0"/>
                <a:ea typeface="Open Sans" panose="020B0606030504020204" pitchFamily="34" charset="0"/>
                <a:cs typeface="Open Sans" panose="020B0606030504020204" pitchFamily="34" charset="0"/>
              </a:endParaRPr>
            </a:p>
          </p:txBody>
        </p:sp>
        <p:sp>
          <p:nvSpPr>
            <p:cNvPr id="23" name="Text Placeholder 19">
              <a:extLst>
                <a:ext uri="{FF2B5EF4-FFF2-40B4-BE49-F238E27FC236}">
                  <a16:creationId xmlns:a16="http://schemas.microsoft.com/office/drawing/2014/main" id="{8556C45F-102C-42FD-A0B0-DD61620BDCB2}"/>
                </a:ext>
              </a:extLst>
            </p:cNvPr>
            <p:cNvSpPr txBox="1">
              <a:spLocks/>
            </p:cNvSpPr>
            <p:nvPr/>
          </p:nvSpPr>
          <p:spPr>
            <a:xfrm>
              <a:off x="4411180" y="4301201"/>
              <a:ext cx="3369635" cy="347132"/>
            </a:xfrm>
            <a:prstGeom prst="rect">
              <a:avLst/>
            </a:prstGeom>
          </p:spPr>
          <p:txBody>
            <a:bodyPr>
              <a:spAutoFit/>
            </a:bodyPr>
            <a:lstStyle>
              <a:lvl1pPr marL="0" indent="0" algn="l" defTabSz="914400" rtl="0" eaLnBrk="1" latinLnBrk="0" hangingPunct="1">
                <a:lnSpc>
                  <a:spcPct val="100000"/>
                </a:lnSpc>
                <a:spcBef>
                  <a:spcPts val="1000"/>
                </a:spcBef>
                <a:buFont typeface="Arial" panose="020B0604020202020204" pitchFamily="34" charset="0"/>
                <a:buNone/>
                <a:defRPr sz="1600" b="1" i="0" kern="1200">
                  <a:solidFill>
                    <a:schemeClr val="tx1"/>
                  </a:solidFill>
                  <a:latin typeface="Gilroy Bold" panose="00000800000000000000" pitchFamily="50" charset="0"/>
                  <a:ea typeface="Open Sans" panose="020B0606030504020204" pitchFamily="34" charset="0"/>
                  <a:cs typeface="Gilroy Bold" panose="00000800000000000000" pitchFamily="50"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ysClr val="windowText" lastClr="000000"/>
                  </a:solidFill>
                  <a:effectLst/>
                  <a:uLnTx/>
                  <a:uFillTx/>
                  <a:latin typeface="Gilroy Bold" panose="00000800000000000000" pitchFamily="50" charset="0"/>
                  <a:ea typeface="Open Sans" panose="020B0606030504020204" pitchFamily="34" charset="0"/>
                </a:rPr>
                <a:t>Fee-Free</a:t>
              </a:r>
            </a:p>
          </p:txBody>
        </p:sp>
        <p:grpSp>
          <p:nvGrpSpPr>
            <p:cNvPr id="33" name="Group 32">
              <a:extLst>
                <a:ext uri="{FF2B5EF4-FFF2-40B4-BE49-F238E27FC236}">
                  <a16:creationId xmlns:a16="http://schemas.microsoft.com/office/drawing/2014/main" id="{0B182298-4FCB-454E-ADE6-414FAB6D3B77}"/>
                </a:ext>
              </a:extLst>
            </p:cNvPr>
            <p:cNvGrpSpPr/>
            <p:nvPr/>
          </p:nvGrpSpPr>
          <p:grpSpPr>
            <a:xfrm>
              <a:off x="4459967" y="3500226"/>
              <a:ext cx="795768" cy="597861"/>
              <a:chOff x="4459967" y="3500226"/>
              <a:chExt cx="795768" cy="597861"/>
            </a:xfrm>
          </p:grpSpPr>
          <p:sp>
            <p:nvSpPr>
              <p:cNvPr id="34" name="Oval 33">
                <a:extLst>
                  <a:ext uri="{FF2B5EF4-FFF2-40B4-BE49-F238E27FC236}">
                    <a16:creationId xmlns:a16="http://schemas.microsoft.com/office/drawing/2014/main" id="{FE1D4B85-D86D-4120-A438-0B4A0A82198F}"/>
                  </a:ext>
                </a:extLst>
              </p:cNvPr>
              <p:cNvSpPr/>
              <p:nvPr/>
            </p:nvSpPr>
            <p:spPr>
              <a:xfrm>
                <a:off x="4459967" y="3529401"/>
                <a:ext cx="568685" cy="568686"/>
              </a:xfrm>
              <a:prstGeom prst="ellipse">
                <a:avLst/>
              </a:prstGeom>
              <a:solidFill>
                <a:srgbClr val="6C0008">
                  <a:alpha val="25098"/>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5" name="Freeform 21">
                <a:extLst>
                  <a:ext uri="{FF2B5EF4-FFF2-40B4-BE49-F238E27FC236}">
                    <a16:creationId xmlns:a16="http://schemas.microsoft.com/office/drawing/2014/main" id="{E269DA31-D166-4031-81A1-BE2260D8CBB7}"/>
                  </a:ext>
                </a:extLst>
              </p:cNvPr>
              <p:cNvSpPr/>
              <p:nvPr/>
            </p:nvSpPr>
            <p:spPr>
              <a:xfrm>
                <a:off x="4580531" y="3500226"/>
                <a:ext cx="675204" cy="507965"/>
              </a:xfrm>
              <a:custGeom>
                <a:avLst/>
                <a:gdLst>
                  <a:gd name="connsiteX0" fmla="*/ 404900 w 555292"/>
                  <a:gd name="connsiteY0" fmla="*/ 255294 h 417754"/>
                  <a:gd name="connsiteX1" fmla="*/ 393331 w 555292"/>
                  <a:gd name="connsiteY1" fmla="*/ 266898 h 417754"/>
                  <a:gd name="connsiteX2" fmla="*/ 404900 w 555292"/>
                  <a:gd name="connsiteY2" fmla="*/ 278503 h 417754"/>
                  <a:gd name="connsiteX3" fmla="*/ 416468 w 555292"/>
                  <a:gd name="connsiteY3" fmla="*/ 266898 h 417754"/>
                  <a:gd name="connsiteX4" fmla="*/ 404900 w 555292"/>
                  <a:gd name="connsiteY4" fmla="*/ 255294 h 417754"/>
                  <a:gd name="connsiteX5" fmla="*/ 404900 w 555292"/>
                  <a:gd name="connsiteY5" fmla="*/ 208877 h 417754"/>
                  <a:gd name="connsiteX6" fmla="*/ 462743 w 555292"/>
                  <a:gd name="connsiteY6" fmla="*/ 266898 h 417754"/>
                  <a:gd name="connsiteX7" fmla="*/ 404900 w 555292"/>
                  <a:gd name="connsiteY7" fmla="*/ 324920 h 417754"/>
                  <a:gd name="connsiteX8" fmla="*/ 347057 w 555292"/>
                  <a:gd name="connsiteY8" fmla="*/ 266898 h 417754"/>
                  <a:gd name="connsiteX9" fmla="*/ 404900 w 555292"/>
                  <a:gd name="connsiteY9" fmla="*/ 208877 h 417754"/>
                  <a:gd name="connsiteX10" fmla="*/ 416469 w 555292"/>
                  <a:gd name="connsiteY10" fmla="*/ 116042 h 417754"/>
                  <a:gd name="connsiteX11" fmla="*/ 439606 w 555292"/>
                  <a:gd name="connsiteY11" fmla="*/ 116042 h 417754"/>
                  <a:gd name="connsiteX12" fmla="*/ 462743 w 555292"/>
                  <a:gd name="connsiteY12" fmla="*/ 139251 h 417754"/>
                  <a:gd name="connsiteX13" fmla="*/ 439606 w 555292"/>
                  <a:gd name="connsiteY13" fmla="*/ 162459 h 417754"/>
                  <a:gd name="connsiteX14" fmla="*/ 416469 w 555292"/>
                  <a:gd name="connsiteY14" fmla="*/ 162459 h 417754"/>
                  <a:gd name="connsiteX15" fmla="*/ 393332 w 555292"/>
                  <a:gd name="connsiteY15" fmla="*/ 139251 h 417754"/>
                  <a:gd name="connsiteX16" fmla="*/ 416469 w 555292"/>
                  <a:gd name="connsiteY16" fmla="*/ 116042 h 417754"/>
                  <a:gd name="connsiteX17" fmla="*/ 115686 w 555292"/>
                  <a:gd name="connsiteY17" fmla="*/ 116042 h 417754"/>
                  <a:gd name="connsiteX18" fmla="*/ 347058 w 555292"/>
                  <a:gd name="connsiteY18" fmla="*/ 116042 h 417754"/>
                  <a:gd name="connsiteX19" fmla="*/ 370195 w 555292"/>
                  <a:gd name="connsiteY19" fmla="*/ 139251 h 417754"/>
                  <a:gd name="connsiteX20" fmla="*/ 347058 w 555292"/>
                  <a:gd name="connsiteY20" fmla="*/ 162459 h 417754"/>
                  <a:gd name="connsiteX21" fmla="*/ 115686 w 555292"/>
                  <a:gd name="connsiteY21" fmla="*/ 162459 h 417754"/>
                  <a:gd name="connsiteX22" fmla="*/ 92549 w 555292"/>
                  <a:gd name="connsiteY22" fmla="*/ 139251 h 417754"/>
                  <a:gd name="connsiteX23" fmla="*/ 115686 w 555292"/>
                  <a:gd name="connsiteY23" fmla="*/ 116042 h 417754"/>
                  <a:gd name="connsiteX24" fmla="*/ 69411 w 555292"/>
                  <a:gd name="connsiteY24" fmla="*/ 46417 h 417754"/>
                  <a:gd name="connsiteX25" fmla="*/ 46274 w 555292"/>
                  <a:gd name="connsiteY25" fmla="*/ 69626 h 417754"/>
                  <a:gd name="connsiteX26" fmla="*/ 46274 w 555292"/>
                  <a:gd name="connsiteY26" fmla="*/ 348128 h 417754"/>
                  <a:gd name="connsiteX27" fmla="*/ 69411 w 555292"/>
                  <a:gd name="connsiteY27" fmla="*/ 371337 h 417754"/>
                  <a:gd name="connsiteX28" fmla="*/ 485880 w 555292"/>
                  <a:gd name="connsiteY28" fmla="*/ 371337 h 417754"/>
                  <a:gd name="connsiteX29" fmla="*/ 509018 w 555292"/>
                  <a:gd name="connsiteY29" fmla="*/ 348128 h 417754"/>
                  <a:gd name="connsiteX30" fmla="*/ 509018 w 555292"/>
                  <a:gd name="connsiteY30" fmla="*/ 69626 h 417754"/>
                  <a:gd name="connsiteX31" fmla="*/ 485880 w 555292"/>
                  <a:gd name="connsiteY31" fmla="*/ 46417 h 417754"/>
                  <a:gd name="connsiteX32" fmla="*/ 69411 w 555292"/>
                  <a:gd name="connsiteY32" fmla="*/ 0 h 417754"/>
                  <a:gd name="connsiteX33" fmla="*/ 485880 w 555292"/>
                  <a:gd name="connsiteY33" fmla="*/ 0 h 417754"/>
                  <a:gd name="connsiteX34" fmla="*/ 555292 w 555292"/>
                  <a:gd name="connsiteY34" fmla="*/ 69626 h 417754"/>
                  <a:gd name="connsiteX35" fmla="*/ 555292 w 555292"/>
                  <a:gd name="connsiteY35" fmla="*/ 348128 h 417754"/>
                  <a:gd name="connsiteX36" fmla="*/ 485880 w 555292"/>
                  <a:gd name="connsiteY36" fmla="*/ 417754 h 417754"/>
                  <a:gd name="connsiteX37" fmla="*/ 69411 w 555292"/>
                  <a:gd name="connsiteY37" fmla="*/ 417754 h 417754"/>
                  <a:gd name="connsiteX38" fmla="*/ 0 w 555292"/>
                  <a:gd name="connsiteY38" fmla="*/ 348128 h 417754"/>
                  <a:gd name="connsiteX39" fmla="*/ 0 w 555292"/>
                  <a:gd name="connsiteY39" fmla="*/ 69626 h 417754"/>
                  <a:gd name="connsiteX40" fmla="*/ 69411 w 555292"/>
                  <a:gd name="connsiteY40" fmla="*/ 0 h 417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55292" h="417754">
                    <a:moveTo>
                      <a:pt x="404900" y="255294"/>
                    </a:moveTo>
                    <a:cubicBezTo>
                      <a:pt x="398512" y="255294"/>
                      <a:pt x="393331" y="260491"/>
                      <a:pt x="393331" y="266898"/>
                    </a:cubicBezTo>
                    <a:cubicBezTo>
                      <a:pt x="393331" y="273306"/>
                      <a:pt x="398512" y="278503"/>
                      <a:pt x="404900" y="278503"/>
                    </a:cubicBezTo>
                    <a:cubicBezTo>
                      <a:pt x="411288" y="278503"/>
                      <a:pt x="416468" y="273306"/>
                      <a:pt x="416468" y="266898"/>
                    </a:cubicBezTo>
                    <a:cubicBezTo>
                      <a:pt x="416468" y="260491"/>
                      <a:pt x="411288" y="255294"/>
                      <a:pt x="404900" y="255294"/>
                    </a:cubicBezTo>
                    <a:close/>
                    <a:moveTo>
                      <a:pt x="404900" y="208877"/>
                    </a:moveTo>
                    <a:cubicBezTo>
                      <a:pt x="436845" y="208877"/>
                      <a:pt x="462743" y="234854"/>
                      <a:pt x="462743" y="266898"/>
                    </a:cubicBezTo>
                    <a:cubicBezTo>
                      <a:pt x="462743" y="298942"/>
                      <a:pt x="436845" y="324920"/>
                      <a:pt x="404900" y="324920"/>
                    </a:cubicBezTo>
                    <a:cubicBezTo>
                      <a:pt x="372954" y="324920"/>
                      <a:pt x="347057" y="298942"/>
                      <a:pt x="347057" y="266898"/>
                    </a:cubicBezTo>
                    <a:cubicBezTo>
                      <a:pt x="347057" y="234854"/>
                      <a:pt x="372954" y="208877"/>
                      <a:pt x="404900" y="208877"/>
                    </a:cubicBezTo>
                    <a:close/>
                    <a:moveTo>
                      <a:pt x="416469" y="116042"/>
                    </a:moveTo>
                    <a:lnTo>
                      <a:pt x="439606" y="116042"/>
                    </a:lnTo>
                    <a:cubicBezTo>
                      <a:pt x="452385" y="116042"/>
                      <a:pt x="462743" y="126433"/>
                      <a:pt x="462743" y="139251"/>
                    </a:cubicBezTo>
                    <a:cubicBezTo>
                      <a:pt x="462743" y="152068"/>
                      <a:pt x="452385" y="162459"/>
                      <a:pt x="439606" y="162459"/>
                    </a:cubicBezTo>
                    <a:lnTo>
                      <a:pt x="416469" y="162459"/>
                    </a:lnTo>
                    <a:cubicBezTo>
                      <a:pt x="403691" y="162459"/>
                      <a:pt x="393332" y="152068"/>
                      <a:pt x="393332" y="139251"/>
                    </a:cubicBezTo>
                    <a:cubicBezTo>
                      <a:pt x="393332" y="126433"/>
                      <a:pt x="403691" y="116042"/>
                      <a:pt x="416469" y="116042"/>
                    </a:cubicBezTo>
                    <a:close/>
                    <a:moveTo>
                      <a:pt x="115686" y="116042"/>
                    </a:moveTo>
                    <a:lnTo>
                      <a:pt x="347058" y="116042"/>
                    </a:lnTo>
                    <a:cubicBezTo>
                      <a:pt x="359836" y="116042"/>
                      <a:pt x="370195" y="126433"/>
                      <a:pt x="370195" y="139251"/>
                    </a:cubicBezTo>
                    <a:cubicBezTo>
                      <a:pt x="370195" y="152068"/>
                      <a:pt x="359836" y="162459"/>
                      <a:pt x="347058" y="162459"/>
                    </a:cubicBezTo>
                    <a:lnTo>
                      <a:pt x="115686" y="162459"/>
                    </a:lnTo>
                    <a:cubicBezTo>
                      <a:pt x="102908" y="162459"/>
                      <a:pt x="92549" y="152068"/>
                      <a:pt x="92549" y="139251"/>
                    </a:cubicBezTo>
                    <a:cubicBezTo>
                      <a:pt x="92549" y="126433"/>
                      <a:pt x="102908" y="116042"/>
                      <a:pt x="115686" y="116042"/>
                    </a:cubicBezTo>
                    <a:close/>
                    <a:moveTo>
                      <a:pt x="69411" y="46417"/>
                    </a:moveTo>
                    <a:cubicBezTo>
                      <a:pt x="56633" y="46417"/>
                      <a:pt x="46274" y="56808"/>
                      <a:pt x="46274" y="69626"/>
                    </a:cubicBezTo>
                    <a:lnTo>
                      <a:pt x="46274" y="348128"/>
                    </a:lnTo>
                    <a:cubicBezTo>
                      <a:pt x="46274" y="360946"/>
                      <a:pt x="56633" y="371337"/>
                      <a:pt x="69411" y="371337"/>
                    </a:cubicBezTo>
                    <a:lnTo>
                      <a:pt x="485880" y="371337"/>
                    </a:lnTo>
                    <a:cubicBezTo>
                      <a:pt x="498659" y="371337"/>
                      <a:pt x="509018" y="360946"/>
                      <a:pt x="509018" y="348128"/>
                    </a:cubicBezTo>
                    <a:lnTo>
                      <a:pt x="509018" y="69626"/>
                    </a:lnTo>
                    <a:cubicBezTo>
                      <a:pt x="509018" y="56808"/>
                      <a:pt x="498659" y="46417"/>
                      <a:pt x="485880" y="46417"/>
                    </a:cubicBezTo>
                    <a:close/>
                    <a:moveTo>
                      <a:pt x="69411" y="0"/>
                    </a:moveTo>
                    <a:lnTo>
                      <a:pt x="485880" y="0"/>
                    </a:lnTo>
                    <a:cubicBezTo>
                      <a:pt x="524216" y="0"/>
                      <a:pt x="555292" y="31173"/>
                      <a:pt x="555292" y="69626"/>
                    </a:cubicBezTo>
                    <a:lnTo>
                      <a:pt x="555292" y="348128"/>
                    </a:lnTo>
                    <a:cubicBezTo>
                      <a:pt x="555292" y="386583"/>
                      <a:pt x="524216" y="417754"/>
                      <a:pt x="485880" y="417754"/>
                    </a:cubicBezTo>
                    <a:lnTo>
                      <a:pt x="69411" y="417754"/>
                    </a:lnTo>
                    <a:cubicBezTo>
                      <a:pt x="31077" y="417754"/>
                      <a:pt x="0" y="386583"/>
                      <a:pt x="0" y="348128"/>
                    </a:cubicBezTo>
                    <a:lnTo>
                      <a:pt x="0" y="69626"/>
                    </a:lnTo>
                    <a:cubicBezTo>
                      <a:pt x="0" y="31173"/>
                      <a:pt x="31077" y="0"/>
                      <a:pt x="69411" y="0"/>
                    </a:cubicBezTo>
                    <a:close/>
                  </a:path>
                </a:pathLst>
              </a:custGeom>
              <a:solidFill>
                <a:srgbClr val="6C0008"/>
              </a:solidFill>
              <a:ln w="2286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TL"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grpSp>
      </p:grpSp>
      <p:sp>
        <p:nvSpPr>
          <p:cNvPr id="39" name="Rectangle 38"/>
          <p:cNvSpPr/>
          <p:nvPr/>
        </p:nvSpPr>
        <p:spPr>
          <a:xfrm>
            <a:off x="10528419" y="341832"/>
            <a:ext cx="1663581" cy="13416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Light"/>
              <a:ea typeface="+mn-ea"/>
              <a:cs typeface="+mn-cs"/>
            </a:endParaRPr>
          </a:p>
        </p:txBody>
      </p:sp>
    </p:spTree>
    <p:extLst>
      <p:ext uri="{BB962C8B-B14F-4D97-AF65-F5344CB8AC3E}">
        <p14:creationId xmlns:p14="http://schemas.microsoft.com/office/powerpoint/2010/main" val="2219038735"/>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1000"/>
                                        <p:tgtEl>
                                          <p:spTgt spid="36"/>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37"/>
                                        </p:tgtEl>
                                        <p:attrNameLst>
                                          <p:attrName>style.visibility</p:attrName>
                                        </p:attrNameLst>
                                      </p:cBhvr>
                                      <p:to>
                                        <p:strVal val="visible"/>
                                      </p:to>
                                    </p:set>
                                    <p:animEffect transition="in" filter="fade">
                                      <p:cBhvr>
                                        <p:cTn id="11" dur="1000"/>
                                        <p:tgtEl>
                                          <p:spTgt spid="37"/>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38"/>
                                        </p:tgtEl>
                                        <p:attrNameLst>
                                          <p:attrName>style.visibility</p:attrName>
                                        </p:attrNameLst>
                                      </p:cBhvr>
                                      <p:to>
                                        <p:strVal val="visible"/>
                                      </p:to>
                                    </p:set>
                                    <p:animEffect transition="in" filter="fade">
                                      <p:cBhvr>
                                        <p:cTn id="15" dur="10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Building Credit</a:t>
            </a:r>
          </a:p>
        </p:txBody>
      </p:sp>
      <p:sp>
        <p:nvSpPr>
          <p:cNvPr id="5" name="TextBox 4">
            <a:extLst>
              <a:ext uri="{FF2B5EF4-FFF2-40B4-BE49-F238E27FC236}">
                <a16:creationId xmlns:a16="http://schemas.microsoft.com/office/drawing/2014/main" id="{A8B733EE-69B9-071C-7E1A-054D173AF409}"/>
              </a:ext>
            </a:extLst>
          </p:cNvPr>
          <p:cNvSpPr txBox="1"/>
          <p:nvPr/>
        </p:nvSpPr>
        <p:spPr>
          <a:xfrm>
            <a:off x="3048000" y="1823357"/>
            <a:ext cx="6953250" cy="523220"/>
          </a:xfrm>
          <a:prstGeom prst="rect">
            <a:avLst/>
          </a:prstGeom>
          <a:noFill/>
        </p:spPr>
        <p:txBody>
          <a:bodyPr wrap="square" rtlCol="0">
            <a:spAutoFit/>
          </a:bodyPr>
          <a:lstStyle/>
          <a:p>
            <a:pPr marL="285750" indent="-285750">
              <a:buFont typeface="Arial" panose="020B0604020202020204" pitchFamily="34" charset="0"/>
              <a:buChar char="•"/>
            </a:pPr>
            <a:r>
              <a:rPr kumimoji="0" lang="en-US" sz="280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Credit Building Products</a:t>
            </a:r>
            <a:endParaRPr lang="en-US" sz="2800" dirty="0">
              <a:solidFill>
                <a:srgbClr val="FFFFFF"/>
              </a:solidFill>
              <a:latin typeface="Century Gothic" panose="020B0502020202020204" pitchFamily="34" charset="0"/>
            </a:endParaRPr>
          </a:p>
        </p:txBody>
      </p:sp>
    </p:spTree>
    <p:extLst>
      <p:ext uri="{BB962C8B-B14F-4D97-AF65-F5344CB8AC3E}">
        <p14:creationId xmlns:p14="http://schemas.microsoft.com/office/powerpoint/2010/main" val="246014248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Building Credit</a:t>
            </a:r>
          </a:p>
        </p:txBody>
      </p:sp>
      <p:sp>
        <p:nvSpPr>
          <p:cNvPr id="5" name="TextBox 4">
            <a:extLst>
              <a:ext uri="{FF2B5EF4-FFF2-40B4-BE49-F238E27FC236}">
                <a16:creationId xmlns:a16="http://schemas.microsoft.com/office/drawing/2014/main" id="{A8B733EE-69B9-071C-7E1A-054D173AF409}"/>
              </a:ext>
            </a:extLst>
          </p:cNvPr>
          <p:cNvSpPr txBox="1"/>
          <p:nvPr/>
        </p:nvSpPr>
        <p:spPr>
          <a:xfrm>
            <a:off x="3048000" y="1823357"/>
            <a:ext cx="6953250" cy="954107"/>
          </a:xfrm>
          <a:prstGeom prst="rect">
            <a:avLst/>
          </a:prstGeom>
          <a:noFill/>
        </p:spPr>
        <p:txBody>
          <a:bodyPr wrap="square" rtlCol="0">
            <a:spAutoFit/>
          </a:bodyPr>
          <a:lstStyle/>
          <a:p>
            <a:pPr marL="285750" indent="-285750">
              <a:buFont typeface="Arial" panose="020B0604020202020204" pitchFamily="34" charset="0"/>
              <a:buChar char="•"/>
            </a:pPr>
            <a:r>
              <a:rPr kumimoji="0" lang="en-US" sz="280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Credit Building Products</a:t>
            </a:r>
          </a:p>
          <a:p>
            <a:pPr marL="742950" lvl="1" indent="-285750">
              <a:buFont typeface="Arial" panose="020B0604020202020204" pitchFamily="34" charset="0"/>
              <a:buChar char="•"/>
            </a:pPr>
            <a:r>
              <a:rPr lang="en-US" sz="2800" dirty="0">
                <a:solidFill>
                  <a:srgbClr val="FFFFFF"/>
                </a:solidFill>
                <a:latin typeface="Century Gothic" panose="020B0502020202020204" pitchFamily="34" charset="0"/>
              </a:rPr>
              <a:t>Secured credit card</a:t>
            </a:r>
          </a:p>
        </p:txBody>
      </p:sp>
    </p:spTree>
    <p:extLst>
      <p:ext uri="{BB962C8B-B14F-4D97-AF65-F5344CB8AC3E}">
        <p14:creationId xmlns:p14="http://schemas.microsoft.com/office/powerpoint/2010/main" val="374495327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Building Credit</a:t>
            </a:r>
          </a:p>
        </p:txBody>
      </p:sp>
      <p:sp>
        <p:nvSpPr>
          <p:cNvPr id="5" name="TextBox 4">
            <a:extLst>
              <a:ext uri="{FF2B5EF4-FFF2-40B4-BE49-F238E27FC236}">
                <a16:creationId xmlns:a16="http://schemas.microsoft.com/office/drawing/2014/main" id="{A8B733EE-69B9-071C-7E1A-054D173AF409}"/>
              </a:ext>
            </a:extLst>
          </p:cNvPr>
          <p:cNvSpPr txBox="1"/>
          <p:nvPr/>
        </p:nvSpPr>
        <p:spPr>
          <a:xfrm>
            <a:off x="3048000" y="1823357"/>
            <a:ext cx="6953250" cy="1384995"/>
          </a:xfrm>
          <a:prstGeom prst="rect">
            <a:avLst/>
          </a:prstGeom>
          <a:noFill/>
        </p:spPr>
        <p:txBody>
          <a:bodyPr wrap="square" rtlCol="0">
            <a:spAutoFit/>
          </a:bodyPr>
          <a:lstStyle/>
          <a:p>
            <a:pPr marL="285750" indent="-285750">
              <a:buFont typeface="Arial" panose="020B0604020202020204" pitchFamily="34" charset="0"/>
              <a:buChar char="•"/>
            </a:pPr>
            <a:r>
              <a:rPr kumimoji="0" lang="en-US" sz="280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Credit Building Products</a:t>
            </a:r>
          </a:p>
          <a:p>
            <a:pPr marL="742950" lvl="1" indent="-285750">
              <a:buFont typeface="Arial" panose="020B0604020202020204" pitchFamily="34" charset="0"/>
              <a:buChar char="•"/>
            </a:pPr>
            <a:r>
              <a:rPr lang="en-US" sz="2800" dirty="0">
                <a:solidFill>
                  <a:srgbClr val="FFFFFF">
                    <a:alpha val="31000"/>
                  </a:srgbClr>
                </a:solidFill>
                <a:latin typeface="Century Gothic" panose="020B0502020202020204" pitchFamily="34" charset="0"/>
              </a:rPr>
              <a:t>Secured credit card</a:t>
            </a:r>
          </a:p>
          <a:p>
            <a:pPr marL="742950" lvl="1" indent="-285750">
              <a:buFont typeface="Arial" panose="020B0604020202020204" pitchFamily="34" charset="0"/>
              <a:buChar char="•"/>
            </a:pPr>
            <a:r>
              <a:rPr lang="en-US" sz="2800" dirty="0">
                <a:solidFill>
                  <a:srgbClr val="FFFFFF"/>
                </a:solidFill>
                <a:latin typeface="Century Gothic" panose="020B0502020202020204" pitchFamily="34" charset="0"/>
              </a:rPr>
              <a:t>Share Secured or CD Secured loan</a:t>
            </a:r>
          </a:p>
        </p:txBody>
      </p:sp>
    </p:spTree>
    <p:extLst>
      <p:ext uri="{BB962C8B-B14F-4D97-AF65-F5344CB8AC3E}">
        <p14:creationId xmlns:p14="http://schemas.microsoft.com/office/powerpoint/2010/main" val="276242637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Building Credit</a:t>
            </a:r>
          </a:p>
        </p:txBody>
      </p:sp>
      <p:sp>
        <p:nvSpPr>
          <p:cNvPr id="5" name="TextBox 4">
            <a:extLst>
              <a:ext uri="{FF2B5EF4-FFF2-40B4-BE49-F238E27FC236}">
                <a16:creationId xmlns:a16="http://schemas.microsoft.com/office/drawing/2014/main" id="{A8B733EE-69B9-071C-7E1A-054D173AF409}"/>
              </a:ext>
            </a:extLst>
          </p:cNvPr>
          <p:cNvSpPr txBox="1"/>
          <p:nvPr/>
        </p:nvSpPr>
        <p:spPr>
          <a:xfrm>
            <a:off x="3048000" y="1823357"/>
            <a:ext cx="6953250" cy="1384995"/>
          </a:xfrm>
          <a:prstGeom prst="rect">
            <a:avLst/>
          </a:prstGeom>
          <a:noFill/>
        </p:spPr>
        <p:txBody>
          <a:bodyPr wrap="square" rtlCol="0">
            <a:spAutoFit/>
          </a:bodyPr>
          <a:lstStyle/>
          <a:p>
            <a:pPr marL="285750" indent="-285750">
              <a:buFont typeface="Arial" panose="020B0604020202020204" pitchFamily="34" charset="0"/>
              <a:buChar char="•"/>
            </a:pPr>
            <a:r>
              <a:rPr kumimoji="0" lang="en-US" sz="2800" i="0" u="none" strike="noStrike" kern="1200" cap="none" spc="0" normalizeH="0" baseline="0" noProof="0" dirty="0">
                <a:ln>
                  <a:noFill/>
                </a:ln>
                <a:solidFill>
                  <a:srgbClr val="FFFFFF">
                    <a:alpha val="30000"/>
                  </a:srgbClr>
                </a:solidFill>
                <a:effectLst/>
                <a:uLnTx/>
                <a:uFillTx/>
                <a:latin typeface="Century Gothic" panose="020B0502020202020204" pitchFamily="34" charset="0"/>
                <a:ea typeface="+mn-ea"/>
                <a:cs typeface="+mn-cs"/>
              </a:rPr>
              <a:t>Credit Building Products</a:t>
            </a:r>
          </a:p>
          <a:p>
            <a:pPr marL="285750" indent="-285750">
              <a:buFont typeface="Arial" panose="020B0604020202020204" pitchFamily="34" charset="0"/>
              <a:buChar char="•"/>
            </a:pPr>
            <a:r>
              <a:rPr lang="en-US" sz="2800" dirty="0">
                <a:solidFill>
                  <a:srgbClr val="FFFFFF"/>
                </a:solidFill>
                <a:latin typeface="Century Gothic" panose="020B0502020202020204" pitchFamily="34" charset="0"/>
              </a:rPr>
              <a:t>Become an authorized user (with caution)</a:t>
            </a:r>
          </a:p>
        </p:txBody>
      </p:sp>
    </p:spTree>
    <p:extLst>
      <p:ext uri="{BB962C8B-B14F-4D97-AF65-F5344CB8AC3E}">
        <p14:creationId xmlns:p14="http://schemas.microsoft.com/office/powerpoint/2010/main" val="59125026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Re-building Credit</a:t>
            </a:r>
          </a:p>
        </p:txBody>
      </p:sp>
    </p:spTree>
    <p:extLst>
      <p:ext uri="{BB962C8B-B14F-4D97-AF65-F5344CB8AC3E}">
        <p14:creationId xmlns:p14="http://schemas.microsoft.com/office/powerpoint/2010/main" val="22740491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Re-building Credit</a:t>
            </a:r>
          </a:p>
        </p:txBody>
      </p:sp>
      <p:sp>
        <p:nvSpPr>
          <p:cNvPr id="5" name="TextBox 4">
            <a:extLst>
              <a:ext uri="{FF2B5EF4-FFF2-40B4-BE49-F238E27FC236}">
                <a16:creationId xmlns:a16="http://schemas.microsoft.com/office/drawing/2014/main" id="{A8B733EE-69B9-071C-7E1A-054D173AF409}"/>
              </a:ext>
            </a:extLst>
          </p:cNvPr>
          <p:cNvSpPr txBox="1"/>
          <p:nvPr/>
        </p:nvSpPr>
        <p:spPr>
          <a:xfrm>
            <a:off x="3048000" y="1823357"/>
            <a:ext cx="6953250" cy="954107"/>
          </a:xfrm>
          <a:prstGeom prst="rect">
            <a:avLst/>
          </a:prstGeom>
          <a:noFill/>
        </p:spPr>
        <p:txBody>
          <a:bodyPr wrap="square" rtlCol="0">
            <a:spAutoFit/>
          </a:bodyPr>
          <a:lstStyle/>
          <a:p>
            <a:pPr marL="285750" indent="-285750">
              <a:buFont typeface="Arial" panose="020B0604020202020204" pitchFamily="34" charset="0"/>
              <a:buChar char="•"/>
            </a:pPr>
            <a:r>
              <a:rPr kumimoji="0" lang="en-US" sz="280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Come up with a plan to pay off any outstanding past-due balances</a:t>
            </a:r>
          </a:p>
        </p:txBody>
      </p:sp>
    </p:spTree>
    <p:extLst>
      <p:ext uri="{BB962C8B-B14F-4D97-AF65-F5344CB8AC3E}">
        <p14:creationId xmlns:p14="http://schemas.microsoft.com/office/powerpoint/2010/main" val="251142888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Re-building Credit</a:t>
            </a:r>
          </a:p>
        </p:txBody>
      </p:sp>
      <p:sp>
        <p:nvSpPr>
          <p:cNvPr id="5" name="TextBox 4">
            <a:extLst>
              <a:ext uri="{FF2B5EF4-FFF2-40B4-BE49-F238E27FC236}">
                <a16:creationId xmlns:a16="http://schemas.microsoft.com/office/drawing/2014/main" id="{A8B733EE-69B9-071C-7E1A-054D173AF409}"/>
              </a:ext>
            </a:extLst>
          </p:cNvPr>
          <p:cNvSpPr txBox="1"/>
          <p:nvPr/>
        </p:nvSpPr>
        <p:spPr>
          <a:xfrm>
            <a:off x="3048000" y="1823357"/>
            <a:ext cx="6953250" cy="1384995"/>
          </a:xfrm>
          <a:prstGeom prst="rect">
            <a:avLst/>
          </a:prstGeom>
          <a:noFill/>
        </p:spPr>
        <p:txBody>
          <a:bodyPr wrap="square" rtlCol="0">
            <a:spAutoFit/>
          </a:bodyPr>
          <a:lstStyle/>
          <a:p>
            <a:pPr marL="285750" indent="-285750">
              <a:buFont typeface="Arial" panose="020B0604020202020204" pitchFamily="34" charset="0"/>
              <a:buChar char="•"/>
            </a:pPr>
            <a:r>
              <a:rPr kumimoji="0" lang="en-US" sz="2800" i="0" u="none" strike="noStrike" kern="1200" cap="none" spc="0" normalizeH="0" baseline="0" noProof="0" dirty="0">
                <a:ln>
                  <a:noFill/>
                </a:ln>
                <a:solidFill>
                  <a:srgbClr val="FFFFFF">
                    <a:alpha val="30000"/>
                  </a:srgbClr>
                </a:solidFill>
                <a:effectLst/>
                <a:uLnTx/>
                <a:uFillTx/>
                <a:latin typeface="Century Gothic" panose="020B0502020202020204" pitchFamily="34" charset="0"/>
                <a:ea typeface="+mn-ea"/>
                <a:cs typeface="+mn-cs"/>
              </a:rPr>
              <a:t>Come up with a plan to pay off any outstanding past-due balances</a:t>
            </a:r>
          </a:p>
          <a:p>
            <a:pPr marL="285750" indent="-285750">
              <a:buFont typeface="Arial" panose="020B0604020202020204" pitchFamily="34" charset="0"/>
              <a:buChar char="•"/>
            </a:pPr>
            <a:r>
              <a:rPr lang="en-US" sz="2800" dirty="0">
                <a:solidFill>
                  <a:srgbClr val="FFFFFF"/>
                </a:solidFill>
                <a:latin typeface="Century Gothic" panose="020B0502020202020204" pitchFamily="34" charset="0"/>
              </a:rPr>
              <a:t>Use credit building products</a:t>
            </a:r>
            <a:endParaRPr kumimoji="0" lang="en-US" sz="280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29342699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Busting Credit Myths</a:t>
            </a:r>
          </a:p>
        </p:txBody>
      </p:sp>
    </p:spTree>
    <p:extLst>
      <p:ext uri="{BB962C8B-B14F-4D97-AF65-F5344CB8AC3E}">
        <p14:creationId xmlns:p14="http://schemas.microsoft.com/office/powerpoint/2010/main" val="16379500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Busting Credit Myths</a:t>
            </a:r>
          </a:p>
        </p:txBody>
      </p:sp>
      <p:sp>
        <p:nvSpPr>
          <p:cNvPr id="5" name="TextBox 4">
            <a:extLst>
              <a:ext uri="{FF2B5EF4-FFF2-40B4-BE49-F238E27FC236}">
                <a16:creationId xmlns:a16="http://schemas.microsoft.com/office/drawing/2014/main" id="{8870B41C-9CDF-6403-538B-57A45E7BEFE8}"/>
              </a:ext>
            </a:extLst>
          </p:cNvPr>
          <p:cNvSpPr txBox="1"/>
          <p:nvPr/>
        </p:nvSpPr>
        <p:spPr>
          <a:xfrm>
            <a:off x="3048000" y="1823357"/>
            <a:ext cx="6953250" cy="1384995"/>
          </a:xfrm>
          <a:prstGeom prst="rect">
            <a:avLst/>
          </a:prstGeom>
          <a:noFill/>
        </p:spPr>
        <p:txBody>
          <a:bodyPr wrap="square" rtlCol="0">
            <a:spAutoFit/>
          </a:bodyPr>
          <a:lstStyle/>
          <a:p>
            <a:pPr marL="285750" indent="-285750">
              <a:buFont typeface="Arial" panose="020B0604020202020204" pitchFamily="34" charset="0"/>
              <a:buChar char="•"/>
            </a:pPr>
            <a:r>
              <a:rPr kumimoji="0" lang="en-US" sz="280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You must carry a credit card balance from month to month in order to build credit.</a:t>
            </a:r>
            <a:endParaRPr lang="en-US" sz="2800" dirty="0">
              <a:solidFill>
                <a:srgbClr val="FFFFFF"/>
              </a:solidFill>
              <a:latin typeface="Century Gothic" panose="020B0502020202020204" pitchFamily="34" charset="0"/>
            </a:endParaRPr>
          </a:p>
        </p:txBody>
      </p:sp>
    </p:spTree>
    <p:extLst>
      <p:ext uri="{BB962C8B-B14F-4D97-AF65-F5344CB8AC3E}">
        <p14:creationId xmlns:p14="http://schemas.microsoft.com/office/powerpoint/2010/main" val="299987379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Busting Credit Myths</a:t>
            </a:r>
          </a:p>
        </p:txBody>
      </p:sp>
      <p:sp>
        <p:nvSpPr>
          <p:cNvPr id="5" name="TextBox 4">
            <a:extLst>
              <a:ext uri="{FF2B5EF4-FFF2-40B4-BE49-F238E27FC236}">
                <a16:creationId xmlns:a16="http://schemas.microsoft.com/office/drawing/2014/main" id="{8870B41C-9CDF-6403-538B-57A45E7BEFE8}"/>
              </a:ext>
            </a:extLst>
          </p:cNvPr>
          <p:cNvSpPr txBox="1"/>
          <p:nvPr/>
        </p:nvSpPr>
        <p:spPr>
          <a:xfrm>
            <a:off x="3048000" y="1823357"/>
            <a:ext cx="6953250" cy="1815882"/>
          </a:xfrm>
          <a:prstGeom prst="rect">
            <a:avLst/>
          </a:prstGeom>
          <a:noFill/>
        </p:spPr>
        <p:txBody>
          <a:bodyPr wrap="square" rtlCol="0">
            <a:spAutoFit/>
          </a:bodyPr>
          <a:lstStyle/>
          <a:p>
            <a:pPr marL="285750" indent="-285750">
              <a:buFont typeface="Arial" panose="020B0604020202020204" pitchFamily="34" charset="0"/>
              <a:buChar char="•"/>
            </a:pPr>
            <a:r>
              <a:rPr kumimoji="0" lang="en-US" sz="280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Opening a new credit card every time I get an offer is a good thing for my credit score: you need lots of credit cards to build credit. </a:t>
            </a:r>
            <a:endParaRPr lang="en-US" sz="2800" dirty="0">
              <a:solidFill>
                <a:srgbClr val="FFFFFF"/>
              </a:solidFill>
              <a:latin typeface="Century Gothic" panose="020B0502020202020204" pitchFamily="34" charset="0"/>
            </a:endParaRPr>
          </a:p>
        </p:txBody>
      </p:sp>
    </p:spTree>
    <p:extLst>
      <p:ext uri="{BB962C8B-B14F-4D97-AF65-F5344CB8AC3E}">
        <p14:creationId xmlns:p14="http://schemas.microsoft.com/office/powerpoint/2010/main" val="38937226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6307219" y="443081"/>
            <a:ext cx="5878286" cy="416402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Light"/>
              <a:ea typeface="+mn-ea"/>
              <a:cs typeface="+mn-cs"/>
            </a:endParaRPr>
          </a:p>
        </p:txBody>
      </p:sp>
      <p:sp>
        <p:nvSpPr>
          <p:cNvPr id="33" name="Text Placeholder 32">
            <a:extLst>
              <a:ext uri="{FF2B5EF4-FFF2-40B4-BE49-F238E27FC236}">
                <a16:creationId xmlns:a16="http://schemas.microsoft.com/office/drawing/2014/main" id="{FEECDCB3-BE5D-42B8-95DB-CB1CF85FF27B}"/>
              </a:ext>
            </a:extLst>
          </p:cNvPr>
          <p:cNvSpPr>
            <a:spLocks noGrp="1"/>
          </p:cNvSpPr>
          <p:nvPr>
            <p:ph type="body" sz="quarter" idx="12"/>
          </p:nvPr>
        </p:nvSpPr>
        <p:spPr>
          <a:xfrm>
            <a:off x="2317418" y="1240667"/>
            <a:ext cx="3124467" cy="1284426"/>
          </a:xfrm>
        </p:spPr>
        <p:txBody>
          <a:bodyPr anchor="t">
            <a:noAutofit/>
          </a:bodyPr>
          <a:lstStyle/>
          <a:p>
            <a:r>
              <a:rPr lang="en-US" sz="4800" dirty="0"/>
              <a:t>Today’s</a:t>
            </a:r>
            <a:br>
              <a:rPr lang="en-US" sz="4800" dirty="0"/>
            </a:br>
            <a:r>
              <a:rPr lang="en-US" sz="4800" dirty="0">
                <a:solidFill>
                  <a:srgbClr val="87CED5"/>
                </a:solidFill>
              </a:rPr>
              <a:t>Presenter</a:t>
            </a:r>
          </a:p>
          <a:p>
            <a:endParaRPr lang="en-US" dirty="0"/>
          </a:p>
        </p:txBody>
      </p:sp>
      <p:sp>
        <p:nvSpPr>
          <p:cNvPr id="34" name="Text Placeholder 33">
            <a:extLst>
              <a:ext uri="{FF2B5EF4-FFF2-40B4-BE49-F238E27FC236}">
                <a16:creationId xmlns:a16="http://schemas.microsoft.com/office/drawing/2014/main" id="{A422B6D3-DE77-4145-97EA-48B8DA000144}"/>
              </a:ext>
            </a:extLst>
          </p:cNvPr>
          <p:cNvSpPr>
            <a:spLocks noGrp="1"/>
          </p:cNvSpPr>
          <p:nvPr>
            <p:ph type="body" sz="quarter" idx="14"/>
          </p:nvPr>
        </p:nvSpPr>
        <p:spPr>
          <a:xfrm>
            <a:off x="2317418" y="2883818"/>
            <a:ext cx="3252257" cy="2726674"/>
          </a:xfrm>
        </p:spPr>
        <p:txBody>
          <a:bodyPr vert="horz" lIns="91440" tIns="45720" rIns="91440" bIns="45720" rtlCol="0" anchor="t">
            <a:normAutofit fontScale="92500"/>
          </a:bodyPr>
          <a:lstStyle/>
          <a:p>
            <a:pPr lvl="0"/>
            <a:r>
              <a:rPr lang="en-US" dirty="0" smtClean="0"/>
              <a:t>Amber </a:t>
            </a:r>
            <a:r>
              <a:rPr lang="en-US" dirty="0"/>
              <a:t>Miller is a Partner Experience Manager with </a:t>
            </a:r>
            <a:r>
              <a:rPr lang="en-US" dirty="0" err="1"/>
              <a:t>GreenPath</a:t>
            </a:r>
            <a:r>
              <a:rPr lang="en-US" dirty="0"/>
              <a:t> Financial Wellness. She lives in Philadelphia with her husband and three cats. Amber is extremely passionate about financial wellness, and has experience developing a financial education program during her time working for a community bank in Kansas as well as providing credit and housing counseling at </a:t>
            </a:r>
            <a:r>
              <a:rPr lang="en-US" dirty="0" err="1"/>
              <a:t>GreenPath</a:t>
            </a:r>
            <a:r>
              <a:rPr lang="en-US" dirty="0"/>
              <a:t>. She is especially passionate about making the topic of credit approachable, and is thrilled to be here today!</a:t>
            </a:r>
          </a:p>
        </p:txBody>
      </p:sp>
      <p:sp>
        <p:nvSpPr>
          <p:cNvPr id="36" name="Text Placeholder 35">
            <a:extLst>
              <a:ext uri="{FF2B5EF4-FFF2-40B4-BE49-F238E27FC236}">
                <a16:creationId xmlns:a16="http://schemas.microsoft.com/office/drawing/2014/main" id="{A2741481-8121-4EF3-8863-F2124EB02FEE}"/>
              </a:ext>
            </a:extLst>
          </p:cNvPr>
          <p:cNvSpPr>
            <a:spLocks noGrp="1"/>
          </p:cNvSpPr>
          <p:nvPr>
            <p:ph type="body" sz="quarter" idx="48"/>
          </p:nvPr>
        </p:nvSpPr>
        <p:spPr>
          <a:xfrm>
            <a:off x="7262607" y="4703742"/>
            <a:ext cx="2452893" cy="1106484"/>
          </a:xfrm>
        </p:spPr>
        <p:txBody>
          <a:bodyPr vert="horz" lIns="91440" tIns="45720" rIns="91440" bIns="45720" rtlCol="0" anchor="t">
            <a:normAutofit/>
          </a:bodyPr>
          <a:lstStyle/>
          <a:p>
            <a:pPr algn="r"/>
            <a:r>
              <a:rPr lang="en-US" sz="1400" dirty="0"/>
              <a:t>Partner Experience Manager with </a:t>
            </a:r>
            <a:r>
              <a:rPr lang="en-US" sz="1400" dirty="0" err="1"/>
              <a:t>GreenPath</a:t>
            </a:r>
            <a:r>
              <a:rPr lang="en-US" sz="1400" dirty="0"/>
              <a:t> Financial Wellness.</a:t>
            </a:r>
            <a:endParaRPr lang="en-US" dirty="0"/>
          </a:p>
        </p:txBody>
      </p:sp>
      <p:sp>
        <p:nvSpPr>
          <p:cNvPr id="37" name="Text Placeholder 36">
            <a:extLst>
              <a:ext uri="{FF2B5EF4-FFF2-40B4-BE49-F238E27FC236}">
                <a16:creationId xmlns:a16="http://schemas.microsoft.com/office/drawing/2014/main" id="{99C2DC48-EF46-40E2-8DEF-B96D9ABD4AB8}"/>
              </a:ext>
            </a:extLst>
          </p:cNvPr>
          <p:cNvSpPr>
            <a:spLocks noGrp="1"/>
          </p:cNvSpPr>
          <p:nvPr>
            <p:ph type="body" sz="quarter" idx="49"/>
          </p:nvPr>
        </p:nvSpPr>
        <p:spPr>
          <a:xfrm>
            <a:off x="8020051" y="4356652"/>
            <a:ext cx="1695450" cy="290744"/>
          </a:xfrm>
        </p:spPr>
        <p:txBody>
          <a:bodyPr vert="horz" lIns="91440" tIns="45720" rIns="91440" bIns="45720" rtlCol="0" anchor="t">
            <a:noAutofit/>
          </a:bodyPr>
          <a:lstStyle/>
          <a:p>
            <a:pPr algn="r"/>
            <a:r>
              <a:rPr lang="en-US" sz="1800" dirty="0"/>
              <a:t>Amber Miller</a:t>
            </a:r>
            <a:endParaRPr lang="en-US" sz="2400" dirty="0"/>
          </a:p>
        </p:txBody>
      </p:sp>
      <p:sp>
        <p:nvSpPr>
          <p:cNvPr id="3" name="Rectangle 2"/>
          <p:cNvSpPr/>
          <p:nvPr/>
        </p:nvSpPr>
        <p:spPr>
          <a:xfrm>
            <a:off x="9406109" y="1219862"/>
            <a:ext cx="130467" cy="2968424"/>
          </a:xfrm>
          <a:prstGeom prst="rect">
            <a:avLst/>
          </a:prstGeom>
          <a:solidFill>
            <a:srgbClr val="C2E4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7CED5"/>
              </a:solidFill>
              <a:effectLst/>
              <a:uLnTx/>
              <a:uFillTx/>
              <a:latin typeface="Source Sans Pro Light"/>
              <a:ea typeface="+mn-ea"/>
              <a:cs typeface="+mn-cs"/>
            </a:endParaRPr>
          </a:p>
        </p:txBody>
      </p:sp>
      <p:pic>
        <p:nvPicPr>
          <p:cNvPr id="6" name="Picture Placeholder 5"/>
          <p:cNvPicPr>
            <a:picLocks noGrp="1" noChangeAspect="1"/>
          </p:cNvPicPr>
          <p:nvPr>
            <p:ph type="pic" sz="quarter" idx="37"/>
          </p:nvPr>
        </p:nvPicPr>
        <p:blipFill>
          <a:blip r:embed="rId3">
            <a:extLst>
              <a:ext uri="{28A0092B-C50C-407E-A947-70E740481C1C}">
                <a14:useLocalDpi xmlns:a14="http://schemas.microsoft.com/office/drawing/2010/main" val="0"/>
              </a:ext>
            </a:extLst>
          </a:blip>
          <a:srcRect l="13917" r="13917"/>
          <a:stretch>
            <a:fillRect/>
          </a:stretch>
        </p:blipFill>
        <p:spPr>
          <a:xfrm>
            <a:off x="7217972" y="855829"/>
            <a:ext cx="2485203" cy="3444477"/>
          </a:xfrm>
        </p:spPr>
      </p:pic>
    </p:spTree>
    <p:extLst>
      <p:ext uri="{BB962C8B-B14F-4D97-AF65-F5344CB8AC3E}">
        <p14:creationId xmlns:p14="http://schemas.microsoft.com/office/powerpoint/2010/main" val="29642174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Busting Credit Myths</a:t>
            </a:r>
          </a:p>
        </p:txBody>
      </p:sp>
      <p:sp>
        <p:nvSpPr>
          <p:cNvPr id="5" name="TextBox 4">
            <a:extLst>
              <a:ext uri="{FF2B5EF4-FFF2-40B4-BE49-F238E27FC236}">
                <a16:creationId xmlns:a16="http://schemas.microsoft.com/office/drawing/2014/main" id="{8870B41C-9CDF-6403-538B-57A45E7BEFE8}"/>
              </a:ext>
            </a:extLst>
          </p:cNvPr>
          <p:cNvSpPr txBox="1"/>
          <p:nvPr/>
        </p:nvSpPr>
        <p:spPr>
          <a:xfrm>
            <a:off x="3048000" y="1823357"/>
            <a:ext cx="6953250" cy="1815882"/>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rgbClr val="FFFFFF"/>
                </a:solidFill>
                <a:latin typeface="Century Gothic" panose="020B0502020202020204" pitchFamily="34" charset="0"/>
              </a:rPr>
              <a:t>I should close a credit card after paying it off if I don’t plan to use it anymore. This will improve my credit score. </a:t>
            </a:r>
          </a:p>
        </p:txBody>
      </p:sp>
    </p:spTree>
    <p:extLst>
      <p:ext uri="{BB962C8B-B14F-4D97-AF65-F5344CB8AC3E}">
        <p14:creationId xmlns:p14="http://schemas.microsoft.com/office/powerpoint/2010/main" val="326726182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Busting Credit Myths</a:t>
            </a:r>
          </a:p>
        </p:txBody>
      </p:sp>
      <p:sp>
        <p:nvSpPr>
          <p:cNvPr id="5" name="TextBox 4">
            <a:extLst>
              <a:ext uri="{FF2B5EF4-FFF2-40B4-BE49-F238E27FC236}">
                <a16:creationId xmlns:a16="http://schemas.microsoft.com/office/drawing/2014/main" id="{8870B41C-9CDF-6403-538B-57A45E7BEFE8}"/>
              </a:ext>
            </a:extLst>
          </p:cNvPr>
          <p:cNvSpPr txBox="1"/>
          <p:nvPr/>
        </p:nvSpPr>
        <p:spPr>
          <a:xfrm>
            <a:off x="3048000" y="1823357"/>
            <a:ext cx="6953250" cy="954107"/>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rgbClr val="FFFFFF"/>
                </a:solidFill>
                <a:latin typeface="Century Gothic" panose="020B0502020202020204" pitchFamily="34" charset="0"/>
              </a:rPr>
              <a:t>Checking my credit report will hurt my credit score. </a:t>
            </a:r>
          </a:p>
        </p:txBody>
      </p:sp>
    </p:spTree>
    <p:extLst>
      <p:ext uri="{BB962C8B-B14F-4D97-AF65-F5344CB8AC3E}">
        <p14:creationId xmlns:p14="http://schemas.microsoft.com/office/powerpoint/2010/main" val="356978244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Healthy Credit Habits</a:t>
            </a:r>
          </a:p>
        </p:txBody>
      </p:sp>
    </p:spTree>
    <p:extLst>
      <p:ext uri="{BB962C8B-B14F-4D97-AF65-F5344CB8AC3E}">
        <p14:creationId xmlns:p14="http://schemas.microsoft.com/office/powerpoint/2010/main" val="136836444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Healthy Credit Habits</a:t>
            </a:r>
          </a:p>
        </p:txBody>
      </p:sp>
      <p:sp>
        <p:nvSpPr>
          <p:cNvPr id="5" name="TextBox 4">
            <a:extLst>
              <a:ext uri="{FF2B5EF4-FFF2-40B4-BE49-F238E27FC236}">
                <a16:creationId xmlns:a16="http://schemas.microsoft.com/office/drawing/2014/main" id="{8870B41C-9CDF-6403-538B-57A45E7BEFE8}"/>
              </a:ext>
            </a:extLst>
          </p:cNvPr>
          <p:cNvSpPr txBox="1"/>
          <p:nvPr/>
        </p:nvSpPr>
        <p:spPr>
          <a:xfrm>
            <a:off x="3048000" y="1823357"/>
            <a:ext cx="8153400" cy="523220"/>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rgbClr val="FFFFFF"/>
                </a:solidFill>
                <a:latin typeface="Century Gothic" panose="020B0502020202020204" pitchFamily="34" charset="0"/>
              </a:rPr>
              <a:t>Make every payment on time every month.</a:t>
            </a:r>
          </a:p>
        </p:txBody>
      </p:sp>
    </p:spTree>
    <p:extLst>
      <p:ext uri="{BB962C8B-B14F-4D97-AF65-F5344CB8AC3E}">
        <p14:creationId xmlns:p14="http://schemas.microsoft.com/office/powerpoint/2010/main" val="230583025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Healthy Credit Habits</a:t>
            </a:r>
          </a:p>
        </p:txBody>
      </p:sp>
      <p:sp>
        <p:nvSpPr>
          <p:cNvPr id="5" name="TextBox 4">
            <a:extLst>
              <a:ext uri="{FF2B5EF4-FFF2-40B4-BE49-F238E27FC236}">
                <a16:creationId xmlns:a16="http://schemas.microsoft.com/office/drawing/2014/main" id="{8870B41C-9CDF-6403-538B-57A45E7BEFE8}"/>
              </a:ext>
            </a:extLst>
          </p:cNvPr>
          <p:cNvSpPr txBox="1"/>
          <p:nvPr/>
        </p:nvSpPr>
        <p:spPr>
          <a:xfrm>
            <a:off x="3048000" y="1823357"/>
            <a:ext cx="8153400" cy="954107"/>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Make every payment on time every month.</a:t>
            </a:r>
          </a:p>
          <a:p>
            <a:pPr marL="285750" indent="-285750">
              <a:buFont typeface="Arial" panose="020B0604020202020204" pitchFamily="34" charset="0"/>
              <a:buChar char="•"/>
            </a:pPr>
            <a:r>
              <a:rPr lang="en-US" sz="2800" dirty="0">
                <a:solidFill>
                  <a:srgbClr val="FFFFFF"/>
                </a:solidFill>
                <a:latin typeface="Century Gothic" panose="020B0502020202020204" pitchFamily="34" charset="0"/>
              </a:rPr>
              <a:t>Keep credit card balances low</a:t>
            </a:r>
          </a:p>
        </p:txBody>
      </p:sp>
    </p:spTree>
    <p:extLst>
      <p:ext uri="{BB962C8B-B14F-4D97-AF65-F5344CB8AC3E}">
        <p14:creationId xmlns:p14="http://schemas.microsoft.com/office/powerpoint/2010/main" val="104785506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Healthy Credit Habits</a:t>
            </a:r>
          </a:p>
        </p:txBody>
      </p:sp>
      <p:sp>
        <p:nvSpPr>
          <p:cNvPr id="5" name="TextBox 4">
            <a:extLst>
              <a:ext uri="{FF2B5EF4-FFF2-40B4-BE49-F238E27FC236}">
                <a16:creationId xmlns:a16="http://schemas.microsoft.com/office/drawing/2014/main" id="{8870B41C-9CDF-6403-538B-57A45E7BEFE8}"/>
              </a:ext>
            </a:extLst>
          </p:cNvPr>
          <p:cNvSpPr txBox="1"/>
          <p:nvPr/>
        </p:nvSpPr>
        <p:spPr>
          <a:xfrm>
            <a:off x="3048000" y="1823357"/>
            <a:ext cx="8153400" cy="1384995"/>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Make every payment on time every month.</a:t>
            </a:r>
          </a:p>
          <a:p>
            <a:pPr marL="285750"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Keep credit card balances low</a:t>
            </a:r>
          </a:p>
          <a:p>
            <a:pPr marL="285750" indent="-285750">
              <a:buFont typeface="Arial" panose="020B0604020202020204" pitchFamily="34" charset="0"/>
              <a:buChar char="•"/>
            </a:pPr>
            <a:r>
              <a:rPr lang="en-US" sz="2800" dirty="0">
                <a:solidFill>
                  <a:srgbClr val="FFFFFF"/>
                </a:solidFill>
                <a:latin typeface="Century Gothic" panose="020B0502020202020204" pitchFamily="34" charset="0"/>
              </a:rPr>
              <a:t>Don’t apply for new credit until you need it.</a:t>
            </a:r>
          </a:p>
        </p:txBody>
      </p:sp>
    </p:spTree>
    <p:extLst>
      <p:ext uri="{BB962C8B-B14F-4D97-AF65-F5344CB8AC3E}">
        <p14:creationId xmlns:p14="http://schemas.microsoft.com/office/powerpoint/2010/main" val="64237902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Healthy Credit Habits</a:t>
            </a:r>
          </a:p>
        </p:txBody>
      </p:sp>
      <p:sp>
        <p:nvSpPr>
          <p:cNvPr id="5" name="TextBox 4">
            <a:extLst>
              <a:ext uri="{FF2B5EF4-FFF2-40B4-BE49-F238E27FC236}">
                <a16:creationId xmlns:a16="http://schemas.microsoft.com/office/drawing/2014/main" id="{8870B41C-9CDF-6403-538B-57A45E7BEFE8}"/>
              </a:ext>
            </a:extLst>
          </p:cNvPr>
          <p:cNvSpPr txBox="1"/>
          <p:nvPr/>
        </p:nvSpPr>
        <p:spPr>
          <a:xfrm>
            <a:off x="3048000" y="1823357"/>
            <a:ext cx="8153400" cy="2677656"/>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Make every payment on time every month.</a:t>
            </a:r>
          </a:p>
          <a:p>
            <a:pPr marL="285750"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Keep credit card balances low</a:t>
            </a:r>
          </a:p>
          <a:p>
            <a:pPr marL="285750"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Don’t apply for new credit until you need it.</a:t>
            </a:r>
          </a:p>
          <a:p>
            <a:pPr marL="285750" indent="-285750">
              <a:buFont typeface="Arial" panose="020B0604020202020204" pitchFamily="34" charset="0"/>
              <a:buChar char="•"/>
            </a:pPr>
            <a:r>
              <a:rPr lang="en-US" sz="2800" dirty="0">
                <a:solidFill>
                  <a:srgbClr val="FFFFFF"/>
                </a:solidFill>
                <a:latin typeface="Century Gothic" panose="020B0502020202020204" pitchFamily="34" charset="0"/>
              </a:rPr>
              <a:t>Don’t ignore bills – even if you think it is an error or is something you don’t think you should owe.</a:t>
            </a:r>
          </a:p>
        </p:txBody>
      </p:sp>
    </p:spTree>
    <p:extLst>
      <p:ext uri="{BB962C8B-B14F-4D97-AF65-F5344CB8AC3E}">
        <p14:creationId xmlns:p14="http://schemas.microsoft.com/office/powerpoint/2010/main" val="327015793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Healthy Credit Habits</a:t>
            </a:r>
          </a:p>
        </p:txBody>
      </p:sp>
      <p:sp>
        <p:nvSpPr>
          <p:cNvPr id="5" name="TextBox 4">
            <a:extLst>
              <a:ext uri="{FF2B5EF4-FFF2-40B4-BE49-F238E27FC236}">
                <a16:creationId xmlns:a16="http://schemas.microsoft.com/office/drawing/2014/main" id="{8870B41C-9CDF-6403-538B-57A45E7BEFE8}"/>
              </a:ext>
            </a:extLst>
          </p:cNvPr>
          <p:cNvSpPr txBox="1"/>
          <p:nvPr/>
        </p:nvSpPr>
        <p:spPr>
          <a:xfrm>
            <a:off x="3048000" y="1823357"/>
            <a:ext cx="8153400" cy="3108543"/>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Make every payment on time every month.</a:t>
            </a:r>
          </a:p>
          <a:p>
            <a:pPr marL="285750"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Keep credit card balances low</a:t>
            </a:r>
          </a:p>
          <a:p>
            <a:pPr marL="285750"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Don’t apply for new credit until you need it.</a:t>
            </a:r>
          </a:p>
          <a:p>
            <a:pPr marL="285750"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Don’t ignore bills – even if you think it is an error or is something you don’t think you should owe.</a:t>
            </a:r>
          </a:p>
          <a:p>
            <a:pPr marL="285750" indent="-285750">
              <a:buFont typeface="Arial" panose="020B0604020202020204" pitchFamily="34" charset="0"/>
              <a:buChar char="•"/>
            </a:pPr>
            <a:r>
              <a:rPr lang="en-US" sz="2800" dirty="0">
                <a:solidFill>
                  <a:srgbClr val="FFFFFF"/>
                </a:solidFill>
                <a:latin typeface="Century Gothic" panose="020B0502020202020204" pitchFamily="34" charset="0"/>
              </a:rPr>
              <a:t>Review your credit reports annually</a:t>
            </a:r>
          </a:p>
        </p:txBody>
      </p:sp>
    </p:spTree>
    <p:extLst>
      <p:ext uri="{BB962C8B-B14F-4D97-AF65-F5344CB8AC3E}">
        <p14:creationId xmlns:p14="http://schemas.microsoft.com/office/powerpoint/2010/main" val="416647316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Healthy Credit Habits</a:t>
            </a:r>
          </a:p>
        </p:txBody>
      </p:sp>
      <p:sp>
        <p:nvSpPr>
          <p:cNvPr id="5" name="TextBox 4">
            <a:extLst>
              <a:ext uri="{FF2B5EF4-FFF2-40B4-BE49-F238E27FC236}">
                <a16:creationId xmlns:a16="http://schemas.microsoft.com/office/drawing/2014/main" id="{8870B41C-9CDF-6403-538B-57A45E7BEFE8}"/>
              </a:ext>
            </a:extLst>
          </p:cNvPr>
          <p:cNvSpPr txBox="1"/>
          <p:nvPr/>
        </p:nvSpPr>
        <p:spPr>
          <a:xfrm>
            <a:off x="3048000" y="1823357"/>
            <a:ext cx="8153400" cy="3539430"/>
          </a:xfrm>
          <a:prstGeom prst="rect">
            <a:avLst/>
          </a:prstGeom>
          <a:noFill/>
        </p:spPr>
        <p:txBody>
          <a:bodyPr wrap="square" rtlCol="0">
            <a:spAutoFit/>
          </a:bodyPr>
          <a:lstStyle/>
          <a:p>
            <a:pPr marL="285750"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Make every payment on time every month.</a:t>
            </a:r>
          </a:p>
          <a:p>
            <a:pPr marL="285750"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Keep credit card balances low</a:t>
            </a:r>
          </a:p>
          <a:p>
            <a:pPr marL="285750"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Don’t apply for new credit until you need it.</a:t>
            </a:r>
          </a:p>
          <a:p>
            <a:pPr marL="285750"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Don’t ignore bills – even if you think it is an error or is something you don’t think you should owe.</a:t>
            </a:r>
          </a:p>
          <a:p>
            <a:pPr marL="285750"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Review your credit reports annually</a:t>
            </a:r>
          </a:p>
          <a:p>
            <a:pPr marL="285750" indent="-285750">
              <a:buFont typeface="Arial" panose="020B0604020202020204" pitchFamily="34" charset="0"/>
              <a:buChar char="•"/>
            </a:pPr>
            <a:r>
              <a:rPr lang="en-US" sz="2800" dirty="0">
                <a:solidFill>
                  <a:srgbClr val="FFFFFF"/>
                </a:solidFill>
                <a:latin typeface="Century Gothic" panose="020B0502020202020204" pitchFamily="34" charset="0"/>
              </a:rPr>
              <a:t>Make every payment on time every month!</a:t>
            </a:r>
          </a:p>
        </p:txBody>
      </p:sp>
    </p:spTree>
    <p:extLst>
      <p:ext uri="{BB962C8B-B14F-4D97-AF65-F5344CB8AC3E}">
        <p14:creationId xmlns:p14="http://schemas.microsoft.com/office/powerpoint/2010/main" val="143318123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906711" y="2232294"/>
            <a:ext cx="2843353" cy="3581519"/>
            <a:chOff x="937191" y="2228057"/>
            <a:chExt cx="2843353" cy="3581519"/>
          </a:xfrm>
        </p:grpSpPr>
        <p:grpSp>
          <p:nvGrpSpPr>
            <p:cNvPr id="14" name="Group 13"/>
            <p:cNvGrpSpPr/>
            <p:nvPr/>
          </p:nvGrpSpPr>
          <p:grpSpPr>
            <a:xfrm>
              <a:off x="1275789" y="2228057"/>
              <a:ext cx="2170228" cy="2531930"/>
              <a:chOff x="1275789" y="2228057"/>
              <a:chExt cx="2170228" cy="2531930"/>
            </a:xfrm>
          </p:grpSpPr>
          <p:grpSp>
            <p:nvGrpSpPr>
              <p:cNvPr id="13" name="Group 12"/>
              <p:cNvGrpSpPr/>
              <p:nvPr/>
            </p:nvGrpSpPr>
            <p:grpSpPr>
              <a:xfrm>
                <a:off x="1275789" y="2228057"/>
                <a:ext cx="2170228" cy="2531930"/>
                <a:chOff x="1275789" y="2228057"/>
                <a:chExt cx="2170228" cy="2531930"/>
              </a:xfrm>
            </p:grpSpPr>
            <p:grpSp>
              <p:nvGrpSpPr>
                <p:cNvPr id="164" name="Group 163"/>
                <p:cNvGrpSpPr/>
                <p:nvPr/>
              </p:nvGrpSpPr>
              <p:grpSpPr>
                <a:xfrm>
                  <a:off x="1275789" y="2228057"/>
                  <a:ext cx="2170228" cy="2531930"/>
                  <a:chOff x="5000726" y="2163035"/>
                  <a:chExt cx="2170228" cy="2531930"/>
                </a:xfrm>
              </p:grpSpPr>
              <p:grpSp>
                <p:nvGrpSpPr>
                  <p:cNvPr id="165" name="Group 164">
                    <a:extLst>
                      <a:ext uri="{FF2B5EF4-FFF2-40B4-BE49-F238E27FC236}">
                        <a16:creationId xmlns:a16="http://schemas.microsoft.com/office/drawing/2014/main" id="{D822F3F4-702C-49C3-8D06-CE20D575A6B1}"/>
                      </a:ext>
                    </a:extLst>
                  </p:cNvPr>
                  <p:cNvGrpSpPr/>
                  <p:nvPr/>
                </p:nvGrpSpPr>
                <p:grpSpPr>
                  <a:xfrm>
                    <a:off x="5000726" y="2163035"/>
                    <a:ext cx="2170228" cy="2531930"/>
                    <a:chOff x="632989" y="1862399"/>
                    <a:chExt cx="2194562" cy="2560320"/>
                  </a:xfrm>
                </p:grpSpPr>
                <p:sp>
                  <p:nvSpPr>
                    <p:cNvPr id="167" name="Flowchart: Manual Operation 166">
                      <a:extLst>
                        <a:ext uri="{FF2B5EF4-FFF2-40B4-BE49-F238E27FC236}">
                          <a16:creationId xmlns:a16="http://schemas.microsoft.com/office/drawing/2014/main" id="{13968875-6991-453A-8772-B599413D69A9}"/>
                        </a:ext>
                      </a:extLst>
                    </p:cNvPr>
                    <p:cNvSpPr/>
                    <p:nvPr/>
                  </p:nvSpPr>
                  <p:spPr>
                    <a:xfrm rot="5400000">
                      <a:off x="-95658" y="2599115"/>
                      <a:ext cx="2552251" cy="1094957"/>
                    </a:xfrm>
                    <a:prstGeom prst="flowChartManualOperation">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168" name="Freeform: Shape 6">
                      <a:extLst>
                        <a:ext uri="{FF2B5EF4-FFF2-40B4-BE49-F238E27FC236}">
                          <a16:creationId xmlns:a16="http://schemas.microsoft.com/office/drawing/2014/main" id="{5D3D4BA2-A523-41E2-8910-97EC2384FE6A}"/>
                        </a:ext>
                      </a:extLst>
                    </p:cNvPr>
                    <p:cNvSpPr/>
                    <p:nvPr/>
                  </p:nvSpPr>
                  <p:spPr>
                    <a:xfrm rot="5400000">
                      <a:off x="450110" y="2045278"/>
                      <a:ext cx="2560320" cy="2194562"/>
                    </a:xfrm>
                    <a:custGeom>
                      <a:avLst/>
                      <a:gdLst>
                        <a:gd name="connsiteX0" fmla="*/ 1 w 2743201"/>
                        <a:gd name="connsiteY0" fmla="*/ 1097280 h 2194562"/>
                        <a:gd name="connsiteX1" fmla="*/ 548641 w 2743201"/>
                        <a:gd name="connsiteY1" fmla="*/ 0 h 2194562"/>
                        <a:gd name="connsiteX2" fmla="*/ 2194561 w 2743201"/>
                        <a:gd name="connsiteY2" fmla="*/ 0 h 2194562"/>
                        <a:gd name="connsiteX3" fmla="*/ 2743201 w 2743201"/>
                        <a:gd name="connsiteY3" fmla="*/ 1097280 h 2194562"/>
                        <a:gd name="connsiteX4" fmla="*/ 0 w 2743201"/>
                        <a:gd name="connsiteY4" fmla="*/ 1097282 h 2194562"/>
                        <a:gd name="connsiteX5" fmla="*/ 2743200 w 2743201"/>
                        <a:gd name="connsiteY5" fmla="*/ 1097282 h 2194562"/>
                        <a:gd name="connsiteX6" fmla="*/ 2194560 w 2743201"/>
                        <a:gd name="connsiteY6" fmla="*/ 2194562 h 2194562"/>
                        <a:gd name="connsiteX7" fmla="*/ 548640 w 2743201"/>
                        <a:gd name="connsiteY7" fmla="*/ 2194562 h 219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43201" h="2194562">
                          <a:moveTo>
                            <a:pt x="1" y="1097280"/>
                          </a:moveTo>
                          <a:lnTo>
                            <a:pt x="548641" y="0"/>
                          </a:lnTo>
                          <a:lnTo>
                            <a:pt x="2194561" y="0"/>
                          </a:lnTo>
                          <a:lnTo>
                            <a:pt x="2743201" y="1097280"/>
                          </a:lnTo>
                          <a:close/>
                          <a:moveTo>
                            <a:pt x="0" y="1097282"/>
                          </a:moveTo>
                          <a:lnTo>
                            <a:pt x="2743200" y="1097282"/>
                          </a:lnTo>
                          <a:lnTo>
                            <a:pt x="2194560" y="2194562"/>
                          </a:lnTo>
                          <a:lnTo>
                            <a:pt x="548640" y="2194562"/>
                          </a:lnTo>
                          <a:close/>
                        </a:path>
                      </a:pathLst>
                    </a:custGeom>
                    <a:solidFill>
                      <a:srgbClr val="66903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2200">
                        <a:solidFill>
                          <a:srgbClr val="F3F3F3"/>
                        </a:solidFill>
                        <a:latin typeface="Century Gothic" panose="020B0502020202020204" pitchFamily="34" charset="0"/>
                      </a:endParaRPr>
                    </a:p>
                  </p:txBody>
                </p:sp>
              </p:grpSp>
              <p:sp>
                <p:nvSpPr>
                  <p:cNvPr id="166" name="Rectangle 165"/>
                  <p:cNvSpPr/>
                  <p:nvPr/>
                </p:nvSpPr>
                <p:spPr>
                  <a:xfrm>
                    <a:off x="5526090" y="2857951"/>
                    <a:ext cx="1114903" cy="11420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FFFFF"/>
                      </a:solidFill>
                      <a:latin typeface="Century Gothic" panose="020B0502020202020204" pitchFamily="34" charset="0"/>
                    </a:endParaRPr>
                  </a:p>
                </p:txBody>
              </p:sp>
            </p:grpSp>
            <p:grpSp>
              <p:nvGrpSpPr>
                <p:cNvPr id="185" name="Group 184">
                  <a:extLst>
                    <a:ext uri="{FF2B5EF4-FFF2-40B4-BE49-F238E27FC236}">
                      <a16:creationId xmlns:a16="http://schemas.microsoft.com/office/drawing/2014/main" id="{D822F3F4-702C-49C3-8D06-CE20D575A6B1}"/>
                    </a:ext>
                  </a:extLst>
                </p:cNvPr>
                <p:cNvGrpSpPr/>
                <p:nvPr/>
              </p:nvGrpSpPr>
              <p:grpSpPr>
                <a:xfrm flipH="1">
                  <a:off x="1545619" y="2546871"/>
                  <a:ext cx="1630524" cy="1902277"/>
                  <a:chOff x="619396" y="1862399"/>
                  <a:chExt cx="2194561" cy="2560320"/>
                </a:xfrm>
                <a:solidFill>
                  <a:srgbClr val="FFFFFF">
                    <a:alpha val="75000"/>
                  </a:srgbClr>
                </a:solidFill>
              </p:grpSpPr>
              <p:sp>
                <p:nvSpPr>
                  <p:cNvPr id="187" name="Flowchart: Manual Operation 186">
                    <a:extLst>
                      <a:ext uri="{FF2B5EF4-FFF2-40B4-BE49-F238E27FC236}">
                        <a16:creationId xmlns:a16="http://schemas.microsoft.com/office/drawing/2014/main" id="{13968875-6991-453A-8772-B599413D69A9}"/>
                      </a:ext>
                    </a:extLst>
                  </p:cNvPr>
                  <p:cNvSpPr/>
                  <p:nvPr/>
                </p:nvSpPr>
                <p:spPr>
                  <a:xfrm rot="5400000">
                    <a:off x="-95658" y="2599115"/>
                    <a:ext cx="2552251" cy="1094957"/>
                  </a:xfrm>
                  <a:prstGeom prst="flowChartManualOperation">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188" name="Freeform: Shape 6">
                    <a:extLst>
                      <a:ext uri="{FF2B5EF4-FFF2-40B4-BE49-F238E27FC236}">
                        <a16:creationId xmlns:a16="http://schemas.microsoft.com/office/drawing/2014/main" id="{5D3D4BA2-A523-41E2-8910-97EC2384FE6A}"/>
                      </a:ext>
                    </a:extLst>
                  </p:cNvPr>
                  <p:cNvSpPr/>
                  <p:nvPr/>
                </p:nvSpPr>
                <p:spPr>
                  <a:xfrm rot="5400000">
                    <a:off x="436517" y="2045278"/>
                    <a:ext cx="2560320" cy="2194561"/>
                  </a:xfrm>
                  <a:custGeom>
                    <a:avLst/>
                    <a:gdLst>
                      <a:gd name="connsiteX0" fmla="*/ 1 w 2743201"/>
                      <a:gd name="connsiteY0" fmla="*/ 1097280 h 2194562"/>
                      <a:gd name="connsiteX1" fmla="*/ 548641 w 2743201"/>
                      <a:gd name="connsiteY1" fmla="*/ 0 h 2194562"/>
                      <a:gd name="connsiteX2" fmla="*/ 2194561 w 2743201"/>
                      <a:gd name="connsiteY2" fmla="*/ 0 h 2194562"/>
                      <a:gd name="connsiteX3" fmla="*/ 2743201 w 2743201"/>
                      <a:gd name="connsiteY3" fmla="*/ 1097280 h 2194562"/>
                      <a:gd name="connsiteX4" fmla="*/ 0 w 2743201"/>
                      <a:gd name="connsiteY4" fmla="*/ 1097282 h 2194562"/>
                      <a:gd name="connsiteX5" fmla="*/ 2743200 w 2743201"/>
                      <a:gd name="connsiteY5" fmla="*/ 1097282 h 2194562"/>
                      <a:gd name="connsiteX6" fmla="*/ 2194560 w 2743201"/>
                      <a:gd name="connsiteY6" fmla="*/ 2194562 h 2194562"/>
                      <a:gd name="connsiteX7" fmla="*/ 548640 w 2743201"/>
                      <a:gd name="connsiteY7" fmla="*/ 2194562 h 219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43201" h="2194562">
                        <a:moveTo>
                          <a:pt x="1" y="1097280"/>
                        </a:moveTo>
                        <a:lnTo>
                          <a:pt x="548641" y="0"/>
                        </a:lnTo>
                        <a:lnTo>
                          <a:pt x="2194561" y="0"/>
                        </a:lnTo>
                        <a:lnTo>
                          <a:pt x="2743201" y="1097280"/>
                        </a:lnTo>
                        <a:close/>
                        <a:moveTo>
                          <a:pt x="0" y="1097282"/>
                        </a:moveTo>
                        <a:lnTo>
                          <a:pt x="2743200" y="1097282"/>
                        </a:lnTo>
                        <a:lnTo>
                          <a:pt x="2194560" y="2194562"/>
                        </a:lnTo>
                        <a:lnTo>
                          <a:pt x="548640" y="219456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2200">
                      <a:solidFill>
                        <a:srgbClr val="F3F3F3"/>
                      </a:solidFill>
                      <a:latin typeface="Century Gothic" panose="020B0502020202020204" pitchFamily="34" charset="0"/>
                    </a:endParaRPr>
                  </a:p>
                </p:txBody>
              </p:sp>
            </p:grpSp>
          </p:grpSp>
          <p:grpSp>
            <p:nvGrpSpPr>
              <p:cNvPr id="38" name="Group 37"/>
              <p:cNvGrpSpPr/>
              <p:nvPr/>
            </p:nvGrpSpPr>
            <p:grpSpPr>
              <a:xfrm>
                <a:off x="1888251" y="2902730"/>
                <a:ext cx="950807" cy="1156151"/>
                <a:chOff x="959417" y="3696234"/>
                <a:chExt cx="1970558" cy="2635748"/>
              </a:xfrm>
            </p:grpSpPr>
            <p:grpSp>
              <p:nvGrpSpPr>
                <p:cNvPr id="39" name="Group 38"/>
                <p:cNvGrpSpPr/>
                <p:nvPr/>
              </p:nvGrpSpPr>
              <p:grpSpPr>
                <a:xfrm rot="3886919">
                  <a:off x="1033888" y="3962736"/>
                  <a:ext cx="1924924" cy="1391919"/>
                  <a:chOff x="3180294" y="3356769"/>
                  <a:chExt cx="1924924" cy="1391919"/>
                </a:xfrm>
              </p:grpSpPr>
              <p:grpSp>
                <p:nvGrpSpPr>
                  <p:cNvPr id="50" name="Group 49"/>
                  <p:cNvGrpSpPr/>
                  <p:nvPr/>
                </p:nvGrpSpPr>
                <p:grpSpPr>
                  <a:xfrm flipH="1">
                    <a:off x="3186789" y="3832672"/>
                    <a:ext cx="1861580" cy="916016"/>
                    <a:chOff x="479061" y="1967476"/>
                    <a:chExt cx="844312" cy="415455"/>
                  </a:xfrm>
                </p:grpSpPr>
                <p:sp>
                  <p:nvSpPr>
                    <p:cNvPr id="71" name="Rounded Rectangle 70"/>
                    <p:cNvSpPr/>
                    <p:nvPr/>
                  </p:nvSpPr>
                  <p:spPr>
                    <a:xfrm>
                      <a:off x="479061" y="1967476"/>
                      <a:ext cx="844312" cy="415455"/>
                    </a:xfrm>
                    <a:prstGeom prst="roundRect">
                      <a:avLst>
                        <a:gd name="adj" fmla="val 7393"/>
                      </a:avLst>
                    </a:prstGeom>
                    <a:solidFill>
                      <a:srgbClr val="027B38"/>
                    </a:solidFill>
                    <a:ln>
                      <a:solidFill>
                        <a:srgbClr val="027B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72" name="Plaque 71"/>
                    <p:cNvSpPr/>
                    <p:nvPr/>
                  </p:nvSpPr>
                  <p:spPr>
                    <a:xfrm>
                      <a:off x="533506" y="2002656"/>
                      <a:ext cx="735423" cy="345096"/>
                    </a:xfrm>
                    <a:prstGeom prst="plaque">
                      <a:avLst/>
                    </a:prstGeom>
                    <a:solidFill>
                      <a:srgbClr val="92C1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73" name="Oval 72"/>
                    <p:cNvSpPr/>
                    <p:nvPr/>
                  </p:nvSpPr>
                  <p:spPr>
                    <a:xfrm>
                      <a:off x="507331" y="1987161"/>
                      <a:ext cx="52350" cy="52350"/>
                    </a:xfrm>
                    <a:prstGeom prst="ellipse">
                      <a:avLst/>
                    </a:prstGeom>
                    <a:solidFill>
                      <a:srgbClr val="92C1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74" name="Oval 73"/>
                    <p:cNvSpPr/>
                    <p:nvPr/>
                  </p:nvSpPr>
                  <p:spPr>
                    <a:xfrm>
                      <a:off x="507330" y="2312990"/>
                      <a:ext cx="52350" cy="52350"/>
                    </a:xfrm>
                    <a:prstGeom prst="ellipse">
                      <a:avLst/>
                    </a:prstGeom>
                    <a:solidFill>
                      <a:srgbClr val="92C1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75" name="Oval 74"/>
                    <p:cNvSpPr/>
                    <p:nvPr/>
                  </p:nvSpPr>
                  <p:spPr>
                    <a:xfrm>
                      <a:off x="1242753" y="2312991"/>
                      <a:ext cx="52350" cy="52350"/>
                    </a:xfrm>
                    <a:prstGeom prst="ellipse">
                      <a:avLst/>
                    </a:prstGeom>
                    <a:solidFill>
                      <a:srgbClr val="92C1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76" name="Oval 75"/>
                    <p:cNvSpPr/>
                    <p:nvPr/>
                  </p:nvSpPr>
                  <p:spPr>
                    <a:xfrm>
                      <a:off x="1242753" y="1987998"/>
                      <a:ext cx="52350" cy="52350"/>
                    </a:xfrm>
                    <a:prstGeom prst="ellipse">
                      <a:avLst/>
                    </a:prstGeom>
                    <a:solidFill>
                      <a:srgbClr val="92C1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77" name="Oval 76"/>
                    <p:cNvSpPr/>
                    <p:nvPr/>
                  </p:nvSpPr>
                  <p:spPr>
                    <a:xfrm>
                      <a:off x="721549" y="2028622"/>
                      <a:ext cx="359335" cy="293164"/>
                    </a:xfrm>
                    <a:prstGeom prst="ellipse">
                      <a:avLst/>
                    </a:prstGeom>
                    <a:solidFill>
                      <a:srgbClr val="027B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78" name="Oval 77"/>
                    <p:cNvSpPr/>
                    <p:nvPr/>
                  </p:nvSpPr>
                  <p:spPr>
                    <a:xfrm>
                      <a:off x="744170" y="2047926"/>
                      <a:ext cx="312011" cy="254555"/>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endParaRPr lang="en-US" sz="2200">
                        <a:solidFill>
                          <a:srgbClr val="F3F3F3"/>
                        </a:solidFill>
                        <a:latin typeface="Century Gothic" panose="020B0502020202020204" pitchFamily="34" charset="0"/>
                      </a:endParaRPr>
                    </a:p>
                  </p:txBody>
                </p:sp>
                <p:cxnSp>
                  <p:nvCxnSpPr>
                    <p:cNvPr id="79" name="Straight Connector 78"/>
                    <p:cNvCxnSpPr/>
                    <p:nvPr/>
                  </p:nvCxnSpPr>
                  <p:spPr>
                    <a:xfrm>
                      <a:off x="902354" y="2085492"/>
                      <a:ext cx="0" cy="191252"/>
                    </a:xfrm>
                    <a:prstGeom prst="line">
                      <a:avLst/>
                    </a:prstGeom>
                    <a:ln w="12700" cap="rnd">
                      <a:solidFill>
                        <a:srgbClr val="F3F3F3"/>
                      </a:solidFill>
                      <a:round/>
                    </a:ln>
                  </p:spPr>
                  <p:style>
                    <a:lnRef idx="1">
                      <a:schemeClr val="accent1"/>
                    </a:lnRef>
                    <a:fillRef idx="0">
                      <a:schemeClr val="accent1"/>
                    </a:fillRef>
                    <a:effectRef idx="0">
                      <a:schemeClr val="accent1"/>
                    </a:effectRef>
                    <a:fontRef idx="minor">
                      <a:schemeClr val="tx1"/>
                    </a:fontRef>
                  </p:style>
                </p:cxnSp>
              </p:grpSp>
              <p:grpSp>
                <p:nvGrpSpPr>
                  <p:cNvPr id="51" name="Group 50"/>
                  <p:cNvGrpSpPr/>
                  <p:nvPr/>
                </p:nvGrpSpPr>
                <p:grpSpPr>
                  <a:xfrm rot="1033286" flipH="1">
                    <a:off x="3180294" y="3601066"/>
                    <a:ext cx="1861580" cy="916016"/>
                    <a:chOff x="479061" y="1967476"/>
                    <a:chExt cx="844312" cy="415455"/>
                  </a:xfrm>
                </p:grpSpPr>
                <p:sp>
                  <p:nvSpPr>
                    <p:cNvPr id="62" name="Rounded Rectangle 61"/>
                    <p:cNvSpPr/>
                    <p:nvPr/>
                  </p:nvSpPr>
                  <p:spPr>
                    <a:xfrm>
                      <a:off x="479061" y="1967476"/>
                      <a:ext cx="844312" cy="415455"/>
                    </a:xfrm>
                    <a:prstGeom prst="roundRect">
                      <a:avLst>
                        <a:gd name="adj" fmla="val 7393"/>
                      </a:avLst>
                    </a:prstGeom>
                    <a:solidFill>
                      <a:srgbClr val="027B38"/>
                    </a:solidFill>
                    <a:ln>
                      <a:solidFill>
                        <a:srgbClr val="027B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63" name="Plaque 62"/>
                    <p:cNvSpPr/>
                    <p:nvPr/>
                  </p:nvSpPr>
                  <p:spPr>
                    <a:xfrm>
                      <a:off x="533506" y="2002656"/>
                      <a:ext cx="735423" cy="345096"/>
                    </a:xfrm>
                    <a:prstGeom prst="plaque">
                      <a:avLst/>
                    </a:prstGeom>
                    <a:solidFill>
                      <a:srgbClr val="92C1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64" name="Oval 63"/>
                    <p:cNvSpPr/>
                    <p:nvPr/>
                  </p:nvSpPr>
                  <p:spPr>
                    <a:xfrm>
                      <a:off x="507331" y="1987161"/>
                      <a:ext cx="52350" cy="52350"/>
                    </a:xfrm>
                    <a:prstGeom prst="ellipse">
                      <a:avLst/>
                    </a:prstGeom>
                    <a:solidFill>
                      <a:srgbClr val="92C1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65" name="Oval 64"/>
                    <p:cNvSpPr/>
                    <p:nvPr/>
                  </p:nvSpPr>
                  <p:spPr>
                    <a:xfrm>
                      <a:off x="507330" y="2312990"/>
                      <a:ext cx="52350" cy="52350"/>
                    </a:xfrm>
                    <a:prstGeom prst="ellipse">
                      <a:avLst/>
                    </a:prstGeom>
                    <a:solidFill>
                      <a:srgbClr val="92C1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66" name="Oval 65"/>
                    <p:cNvSpPr/>
                    <p:nvPr/>
                  </p:nvSpPr>
                  <p:spPr>
                    <a:xfrm>
                      <a:off x="1242753" y="2312991"/>
                      <a:ext cx="52350" cy="52350"/>
                    </a:xfrm>
                    <a:prstGeom prst="ellipse">
                      <a:avLst/>
                    </a:prstGeom>
                    <a:solidFill>
                      <a:srgbClr val="92C1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67" name="Oval 66"/>
                    <p:cNvSpPr/>
                    <p:nvPr/>
                  </p:nvSpPr>
                  <p:spPr>
                    <a:xfrm>
                      <a:off x="1242753" y="1987998"/>
                      <a:ext cx="52350" cy="52350"/>
                    </a:xfrm>
                    <a:prstGeom prst="ellipse">
                      <a:avLst/>
                    </a:prstGeom>
                    <a:solidFill>
                      <a:srgbClr val="92C1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68" name="Oval 67"/>
                    <p:cNvSpPr/>
                    <p:nvPr/>
                  </p:nvSpPr>
                  <p:spPr>
                    <a:xfrm>
                      <a:off x="721549" y="2028622"/>
                      <a:ext cx="359335" cy="293164"/>
                    </a:xfrm>
                    <a:prstGeom prst="ellipse">
                      <a:avLst/>
                    </a:prstGeom>
                    <a:solidFill>
                      <a:srgbClr val="027B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69" name="Oval 68"/>
                    <p:cNvSpPr/>
                    <p:nvPr/>
                  </p:nvSpPr>
                  <p:spPr>
                    <a:xfrm>
                      <a:off x="744170" y="2047926"/>
                      <a:ext cx="312011" cy="254555"/>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endParaRPr lang="en-US" sz="2200">
                        <a:solidFill>
                          <a:srgbClr val="F3F3F3"/>
                        </a:solidFill>
                        <a:latin typeface="Century Gothic" panose="020B0502020202020204" pitchFamily="34" charset="0"/>
                      </a:endParaRPr>
                    </a:p>
                  </p:txBody>
                </p:sp>
                <p:cxnSp>
                  <p:nvCxnSpPr>
                    <p:cNvPr id="70" name="Straight Connector 69"/>
                    <p:cNvCxnSpPr/>
                    <p:nvPr/>
                  </p:nvCxnSpPr>
                  <p:spPr>
                    <a:xfrm>
                      <a:off x="902354" y="2085492"/>
                      <a:ext cx="0" cy="191252"/>
                    </a:xfrm>
                    <a:prstGeom prst="line">
                      <a:avLst/>
                    </a:prstGeom>
                    <a:ln w="12700" cap="rnd">
                      <a:solidFill>
                        <a:srgbClr val="F3F3F3"/>
                      </a:solidFill>
                      <a:round/>
                    </a:ln>
                  </p:spPr>
                  <p:style>
                    <a:lnRef idx="1">
                      <a:schemeClr val="accent1"/>
                    </a:lnRef>
                    <a:fillRef idx="0">
                      <a:schemeClr val="accent1"/>
                    </a:fillRef>
                    <a:effectRef idx="0">
                      <a:schemeClr val="accent1"/>
                    </a:effectRef>
                    <a:fontRef idx="minor">
                      <a:schemeClr val="tx1"/>
                    </a:fontRef>
                  </p:style>
                </p:cxnSp>
              </p:grpSp>
              <p:grpSp>
                <p:nvGrpSpPr>
                  <p:cNvPr id="52" name="Group 51"/>
                  <p:cNvGrpSpPr/>
                  <p:nvPr/>
                </p:nvGrpSpPr>
                <p:grpSpPr>
                  <a:xfrm rot="2025168" flipH="1">
                    <a:off x="3243638" y="3356769"/>
                    <a:ext cx="1861580" cy="916016"/>
                    <a:chOff x="479061" y="1967476"/>
                    <a:chExt cx="844312" cy="415455"/>
                  </a:xfrm>
                </p:grpSpPr>
                <p:sp>
                  <p:nvSpPr>
                    <p:cNvPr id="53" name="Rounded Rectangle 52"/>
                    <p:cNvSpPr/>
                    <p:nvPr/>
                  </p:nvSpPr>
                  <p:spPr>
                    <a:xfrm>
                      <a:off x="479061" y="1967476"/>
                      <a:ext cx="844312" cy="415455"/>
                    </a:xfrm>
                    <a:prstGeom prst="roundRect">
                      <a:avLst>
                        <a:gd name="adj" fmla="val 7393"/>
                      </a:avLst>
                    </a:prstGeom>
                    <a:solidFill>
                      <a:srgbClr val="027B38"/>
                    </a:solidFill>
                    <a:ln>
                      <a:solidFill>
                        <a:srgbClr val="027B3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54" name="Plaque 53"/>
                    <p:cNvSpPr/>
                    <p:nvPr/>
                  </p:nvSpPr>
                  <p:spPr>
                    <a:xfrm>
                      <a:off x="533506" y="2002656"/>
                      <a:ext cx="735423" cy="345096"/>
                    </a:xfrm>
                    <a:prstGeom prst="plaque">
                      <a:avLst/>
                    </a:prstGeom>
                    <a:solidFill>
                      <a:srgbClr val="92C1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55" name="Oval 54"/>
                    <p:cNvSpPr/>
                    <p:nvPr/>
                  </p:nvSpPr>
                  <p:spPr>
                    <a:xfrm>
                      <a:off x="507331" y="1987161"/>
                      <a:ext cx="52350" cy="52350"/>
                    </a:xfrm>
                    <a:prstGeom prst="ellipse">
                      <a:avLst/>
                    </a:prstGeom>
                    <a:solidFill>
                      <a:srgbClr val="92C1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56" name="Oval 55"/>
                    <p:cNvSpPr/>
                    <p:nvPr/>
                  </p:nvSpPr>
                  <p:spPr>
                    <a:xfrm>
                      <a:off x="507330" y="2312990"/>
                      <a:ext cx="52350" cy="52350"/>
                    </a:xfrm>
                    <a:prstGeom prst="ellipse">
                      <a:avLst/>
                    </a:prstGeom>
                    <a:solidFill>
                      <a:srgbClr val="92C1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57" name="Oval 56"/>
                    <p:cNvSpPr/>
                    <p:nvPr/>
                  </p:nvSpPr>
                  <p:spPr>
                    <a:xfrm>
                      <a:off x="1242753" y="2312991"/>
                      <a:ext cx="52350" cy="52350"/>
                    </a:xfrm>
                    <a:prstGeom prst="ellipse">
                      <a:avLst/>
                    </a:prstGeom>
                    <a:solidFill>
                      <a:srgbClr val="92C1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58" name="Oval 57"/>
                    <p:cNvSpPr/>
                    <p:nvPr/>
                  </p:nvSpPr>
                  <p:spPr>
                    <a:xfrm>
                      <a:off x="1242753" y="1987998"/>
                      <a:ext cx="52350" cy="52350"/>
                    </a:xfrm>
                    <a:prstGeom prst="ellipse">
                      <a:avLst/>
                    </a:prstGeom>
                    <a:solidFill>
                      <a:srgbClr val="92C1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59" name="Oval 58"/>
                    <p:cNvSpPr/>
                    <p:nvPr/>
                  </p:nvSpPr>
                  <p:spPr>
                    <a:xfrm>
                      <a:off x="721549" y="2028622"/>
                      <a:ext cx="359335" cy="293164"/>
                    </a:xfrm>
                    <a:prstGeom prst="ellipse">
                      <a:avLst/>
                    </a:prstGeom>
                    <a:solidFill>
                      <a:srgbClr val="027B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60" name="Oval 59"/>
                    <p:cNvSpPr/>
                    <p:nvPr/>
                  </p:nvSpPr>
                  <p:spPr>
                    <a:xfrm>
                      <a:off x="744170" y="2047926"/>
                      <a:ext cx="312011" cy="254555"/>
                    </a:xfrm>
                    <a:prstGeom prst="ellipse">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a:r>
                        <a:rPr lang="en-US" sz="2200">
                          <a:solidFill>
                            <a:srgbClr val="F3F3F3"/>
                          </a:solidFill>
                          <a:latin typeface="Century Gothic" panose="020B0502020202020204" pitchFamily="34" charset="0"/>
                        </a:rPr>
                        <a:t>$</a:t>
                      </a:r>
                    </a:p>
                  </p:txBody>
                </p:sp>
              </p:grpSp>
            </p:grpSp>
            <p:grpSp>
              <p:nvGrpSpPr>
                <p:cNvPr id="40" name="Group 39"/>
                <p:cNvGrpSpPr/>
                <p:nvPr/>
              </p:nvGrpSpPr>
              <p:grpSpPr>
                <a:xfrm>
                  <a:off x="959417" y="4830797"/>
                  <a:ext cx="1970558" cy="1501185"/>
                  <a:chOff x="6181344" y="2644095"/>
                  <a:chExt cx="1970558" cy="1501185"/>
                </a:xfrm>
              </p:grpSpPr>
              <p:sp>
                <p:nvSpPr>
                  <p:cNvPr id="41" name="Rounded Rectangle 40"/>
                  <p:cNvSpPr/>
                  <p:nvPr/>
                </p:nvSpPr>
                <p:spPr>
                  <a:xfrm>
                    <a:off x="6181344" y="2644095"/>
                    <a:ext cx="1944624" cy="1501185"/>
                  </a:xfrm>
                  <a:prstGeom prst="roundRect">
                    <a:avLst>
                      <a:gd name="adj" fmla="val 12606"/>
                    </a:avLst>
                  </a:prstGeom>
                  <a:solidFill>
                    <a:srgbClr val="E98B13"/>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grpSp>
                <p:nvGrpSpPr>
                  <p:cNvPr id="42" name="Group 41"/>
                  <p:cNvGrpSpPr/>
                  <p:nvPr/>
                </p:nvGrpSpPr>
                <p:grpSpPr>
                  <a:xfrm>
                    <a:off x="6248400" y="2651670"/>
                    <a:ext cx="1816608" cy="1493610"/>
                    <a:chOff x="6248400" y="2651670"/>
                    <a:chExt cx="1816608" cy="1493610"/>
                  </a:xfrm>
                </p:grpSpPr>
                <p:sp>
                  <p:nvSpPr>
                    <p:cNvPr id="48" name="Rounded Rectangle 47"/>
                    <p:cNvSpPr/>
                    <p:nvPr/>
                  </p:nvSpPr>
                  <p:spPr>
                    <a:xfrm>
                      <a:off x="6248400" y="2651670"/>
                      <a:ext cx="1816608" cy="1493610"/>
                    </a:xfrm>
                    <a:prstGeom prst="roundRect">
                      <a:avLst>
                        <a:gd name="adj" fmla="val 10545"/>
                      </a:avLst>
                    </a:prstGeom>
                    <a:solidFill>
                      <a:srgbClr val="F49C0B"/>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49" name="Rounded Rectangle 48"/>
                    <p:cNvSpPr/>
                    <p:nvPr/>
                  </p:nvSpPr>
                  <p:spPr>
                    <a:xfrm>
                      <a:off x="6313385" y="2718816"/>
                      <a:ext cx="1672374" cy="1353312"/>
                    </a:xfrm>
                    <a:prstGeom prst="roundRect">
                      <a:avLst>
                        <a:gd name="adj" fmla="val 5967"/>
                      </a:avLst>
                    </a:prstGeom>
                    <a:noFill/>
                    <a:ln w="19050">
                      <a:solidFill>
                        <a:schemeClr val="accent2">
                          <a:lumMod val="60000"/>
                          <a:lumOff val="40000"/>
                        </a:schemeClr>
                      </a:solidFill>
                      <a:prstDash val="dash"/>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grpSp>
              <p:sp>
                <p:nvSpPr>
                  <p:cNvPr id="44" name="Rounded Rectangle 43"/>
                  <p:cNvSpPr/>
                  <p:nvPr/>
                </p:nvSpPr>
                <p:spPr>
                  <a:xfrm>
                    <a:off x="8050744" y="3236675"/>
                    <a:ext cx="101158" cy="367164"/>
                  </a:xfrm>
                  <a:prstGeom prst="roundRect">
                    <a:avLst/>
                  </a:prstGeom>
                  <a:solidFill>
                    <a:srgbClr val="CA62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45" name="Freeform 44"/>
                  <p:cNvSpPr/>
                  <p:nvPr/>
                </p:nvSpPr>
                <p:spPr>
                  <a:xfrm>
                    <a:off x="7265159" y="3236674"/>
                    <a:ext cx="799849" cy="367164"/>
                  </a:xfrm>
                  <a:custGeom>
                    <a:avLst/>
                    <a:gdLst>
                      <a:gd name="connsiteX0" fmla="*/ 161544 w 802630"/>
                      <a:gd name="connsiteY0" fmla="*/ 0 h 367164"/>
                      <a:gd name="connsiteX1" fmla="*/ 316992 w 802630"/>
                      <a:gd name="connsiteY1" fmla="*/ 0 h 367164"/>
                      <a:gd name="connsiteX2" fmla="*/ 323088 w 802630"/>
                      <a:gd name="connsiteY2" fmla="*/ 0 h 367164"/>
                      <a:gd name="connsiteX3" fmla="*/ 802630 w 802630"/>
                      <a:gd name="connsiteY3" fmla="*/ 0 h 367164"/>
                      <a:gd name="connsiteX4" fmla="*/ 802630 w 802630"/>
                      <a:gd name="connsiteY4" fmla="*/ 367164 h 367164"/>
                      <a:gd name="connsiteX5" fmla="*/ 323088 w 802630"/>
                      <a:gd name="connsiteY5" fmla="*/ 367164 h 367164"/>
                      <a:gd name="connsiteX6" fmla="*/ 316992 w 802630"/>
                      <a:gd name="connsiteY6" fmla="*/ 367164 h 367164"/>
                      <a:gd name="connsiteX7" fmla="*/ 161544 w 802630"/>
                      <a:gd name="connsiteY7" fmla="*/ 367164 h 367164"/>
                      <a:gd name="connsiteX8" fmla="*/ 0 w 802630"/>
                      <a:gd name="connsiteY8" fmla="*/ 183582 h 367164"/>
                      <a:gd name="connsiteX9" fmla="*/ 161544 w 802630"/>
                      <a:gd name="connsiteY9" fmla="*/ 0 h 367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2630" h="367164">
                        <a:moveTo>
                          <a:pt x="161544" y="0"/>
                        </a:moveTo>
                        <a:lnTo>
                          <a:pt x="316992" y="0"/>
                        </a:lnTo>
                        <a:lnTo>
                          <a:pt x="323088" y="0"/>
                        </a:lnTo>
                        <a:lnTo>
                          <a:pt x="802630" y="0"/>
                        </a:lnTo>
                        <a:lnTo>
                          <a:pt x="802630" y="367164"/>
                        </a:lnTo>
                        <a:lnTo>
                          <a:pt x="323088" y="367164"/>
                        </a:lnTo>
                        <a:lnTo>
                          <a:pt x="316992" y="367164"/>
                        </a:lnTo>
                        <a:lnTo>
                          <a:pt x="161544" y="367164"/>
                        </a:lnTo>
                        <a:cubicBezTo>
                          <a:pt x="72326" y="367164"/>
                          <a:pt x="0" y="284972"/>
                          <a:pt x="0" y="183582"/>
                        </a:cubicBezTo>
                        <a:cubicBezTo>
                          <a:pt x="0" y="82192"/>
                          <a:pt x="72326" y="0"/>
                          <a:pt x="161544" y="0"/>
                        </a:cubicBezTo>
                        <a:close/>
                      </a:path>
                    </a:pathLst>
                  </a:custGeom>
                  <a:solidFill>
                    <a:srgbClr val="D173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46" name="Oval 45"/>
                  <p:cNvSpPr/>
                  <p:nvPr/>
                </p:nvSpPr>
                <p:spPr>
                  <a:xfrm>
                    <a:off x="7370149" y="3317902"/>
                    <a:ext cx="204708" cy="204708"/>
                  </a:xfrm>
                  <a:prstGeom prst="ellipse">
                    <a:avLst/>
                  </a:prstGeom>
                  <a:solidFill>
                    <a:srgbClr val="F2D3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47" name="Oval 46"/>
                  <p:cNvSpPr/>
                  <p:nvPr/>
                </p:nvSpPr>
                <p:spPr>
                  <a:xfrm>
                    <a:off x="7405194" y="3327207"/>
                    <a:ext cx="169180" cy="186098"/>
                  </a:xfrm>
                  <a:prstGeom prst="ellipse">
                    <a:avLst/>
                  </a:prstGeom>
                  <a:solidFill>
                    <a:srgbClr val="D8B9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grpSp>
          </p:grpSp>
        </p:grpSp>
        <p:sp>
          <p:nvSpPr>
            <p:cNvPr id="189" name="TextBox 188">
              <a:extLst>
                <a:ext uri="{FF2B5EF4-FFF2-40B4-BE49-F238E27FC236}">
                  <a16:creationId xmlns:a16="http://schemas.microsoft.com/office/drawing/2014/main" id="{354507D8-2A10-4B23-94A6-0401BDA1E526}"/>
                </a:ext>
              </a:extLst>
            </p:cNvPr>
            <p:cNvSpPr txBox="1"/>
            <p:nvPr/>
          </p:nvSpPr>
          <p:spPr>
            <a:xfrm>
              <a:off x="937191" y="5040135"/>
              <a:ext cx="2843353" cy="769441"/>
            </a:xfrm>
            <a:prstGeom prst="rect">
              <a:avLst/>
            </a:prstGeom>
            <a:noFill/>
          </p:spPr>
          <p:txBody>
            <a:bodyPr wrap="square" rtlCol="0">
              <a:spAutoFit/>
            </a:bodyPr>
            <a:lstStyle/>
            <a:p>
              <a:pPr algn="ctr"/>
              <a:r>
                <a:rPr lang="en-US" sz="2200" b="1" spc="300" dirty="0">
                  <a:solidFill>
                    <a:srgbClr val="FFFFFF"/>
                  </a:solidFill>
                  <a:latin typeface="Century Gothic" panose="020B0502020202020204" pitchFamily="34" charset="0"/>
                </a:rPr>
                <a:t>CREDIT REPORT REVIEW</a:t>
              </a:r>
            </a:p>
          </p:txBody>
        </p:sp>
      </p:grpSp>
      <p:grpSp>
        <p:nvGrpSpPr>
          <p:cNvPr id="16" name="Group 15"/>
          <p:cNvGrpSpPr/>
          <p:nvPr/>
        </p:nvGrpSpPr>
        <p:grpSpPr>
          <a:xfrm>
            <a:off x="3546521" y="2231354"/>
            <a:ext cx="2843353" cy="3582263"/>
            <a:chOff x="3577001" y="2227117"/>
            <a:chExt cx="2843353" cy="3582263"/>
          </a:xfrm>
        </p:grpSpPr>
        <p:grpSp>
          <p:nvGrpSpPr>
            <p:cNvPr id="9" name="Group 8"/>
            <p:cNvGrpSpPr/>
            <p:nvPr/>
          </p:nvGrpSpPr>
          <p:grpSpPr>
            <a:xfrm>
              <a:off x="3885467" y="2227117"/>
              <a:ext cx="2170228" cy="2531930"/>
              <a:chOff x="3885467" y="2227117"/>
              <a:chExt cx="2170228" cy="2531930"/>
            </a:xfrm>
          </p:grpSpPr>
          <p:grpSp>
            <p:nvGrpSpPr>
              <p:cNvPr id="6" name="Group 5"/>
              <p:cNvGrpSpPr/>
              <p:nvPr/>
            </p:nvGrpSpPr>
            <p:grpSpPr>
              <a:xfrm>
                <a:off x="3885467" y="2227117"/>
                <a:ext cx="2170228" cy="2531930"/>
                <a:chOff x="3888388" y="2228056"/>
                <a:chExt cx="2170228" cy="2531930"/>
              </a:xfrm>
            </p:grpSpPr>
            <p:grpSp>
              <p:nvGrpSpPr>
                <p:cNvPr id="169" name="Group 168"/>
                <p:cNvGrpSpPr/>
                <p:nvPr/>
              </p:nvGrpSpPr>
              <p:grpSpPr>
                <a:xfrm>
                  <a:off x="3888388" y="2228056"/>
                  <a:ext cx="2170228" cy="2531930"/>
                  <a:chOff x="5000726" y="2163035"/>
                  <a:chExt cx="2170228" cy="2531930"/>
                </a:xfrm>
              </p:grpSpPr>
              <p:grpSp>
                <p:nvGrpSpPr>
                  <p:cNvPr id="170" name="Group 169">
                    <a:extLst>
                      <a:ext uri="{FF2B5EF4-FFF2-40B4-BE49-F238E27FC236}">
                        <a16:creationId xmlns:a16="http://schemas.microsoft.com/office/drawing/2014/main" id="{D822F3F4-702C-49C3-8D06-CE20D575A6B1}"/>
                      </a:ext>
                    </a:extLst>
                  </p:cNvPr>
                  <p:cNvGrpSpPr/>
                  <p:nvPr/>
                </p:nvGrpSpPr>
                <p:grpSpPr>
                  <a:xfrm>
                    <a:off x="5000726" y="2163035"/>
                    <a:ext cx="2170228" cy="2531930"/>
                    <a:chOff x="632989" y="1862399"/>
                    <a:chExt cx="2194562" cy="2560320"/>
                  </a:xfrm>
                </p:grpSpPr>
                <p:sp>
                  <p:nvSpPr>
                    <p:cNvPr id="172" name="Flowchart: Manual Operation 171">
                      <a:extLst>
                        <a:ext uri="{FF2B5EF4-FFF2-40B4-BE49-F238E27FC236}">
                          <a16:creationId xmlns:a16="http://schemas.microsoft.com/office/drawing/2014/main" id="{13968875-6991-453A-8772-B599413D69A9}"/>
                        </a:ext>
                      </a:extLst>
                    </p:cNvPr>
                    <p:cNvSpPr/>
                    <p:nvPr/>
                  </p:nvSpPr>
                  <p:spPr>
                    <a:xfrm rot="5400000">
                      <a:off x="-95658" y="2599115"/>
                      <a:ext cx="2552251" cy="1094957"/>
                    </a:xfrm>
                    <a:prstGeom prst="flowChartManualOperation">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173" name="Freeform: Shape 6">
                      <a:extLst>
                        <a:ext uri="{FF2B5EF4-FFF2-40B4-BE49-F238E27FC236}">
                          <a16:creationId xmlns:a16="http://schemas.microsoft.com/office/drawing/2014/main" id="{5D3D4BA2-A523-41E2-8910-97EC2384FE6A}"/>
                        </a:ext>
                      </a:extLst>
                    </p:cNvPr>
                    <p:cNvSpPr/>
                    <p:nvPr/>
                  </p:nvSpPr>
                  <p:spPr>
                    <a:xfrm rot="5400000">
                      <a:off x="450110" y="2045278"/>
                      <a:ext cx="2560320" cy="2194562"/>
                    </a:xfrm>
                    <a:custGeom>
                      <a:avLst/>
                      <a:gdLst>
                        <a:gd name="connsiteX0" fmla="*/ 1 w 2743201"/>
                        <a:gd name="connsiteY0" fmla="*/ 1097280 h 2194562"/>
                        <a:gd name="connsiteX1" fmla="*/ 548641 w 2743201"/>
                        <a:gd name="connsiteY1" fmla="*/ 0 h 2194562"/>
                        <a:gd name="connsiteX2" fmla="*/ 2194561 w 2743201"/>
                        <a:gd name="connsiteY2" fmla="*/ 0 h 2194562"/>
                        <a:gd name="connsiteX3" fmla="*/ 2743201 w 2743201"/>
                        <a:gd name="connsiteY3" fmla="*/ 1097280 h 2194562"/>
                        <a:gd name="connsiteX4" fmla="*/ 0 w 2743201"/>
                        <a:gd name="connsiteY4" fmla="*/ 1097282 h 2194562"/>
                        <a:gd name="connsiteX5" fmla="*/ 2743200 w 2743201"/>
                        <a:gd name="connsiteY5" fmla="*/ 1097282 h 2194562"/>
                        <a:gd name="connsiteX6" fmla="*/ 2194560 w 2743201"/>
                        <a:gd name="connsiteY6" fmla="*/ 2194562 h 2194562"/>
                        <a:gd name="connsiteX7" fmla="*/ 548640 w 2743201"/>
                        <a:gd name="connsiteY7" fmla="*/ 2194562 h 219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43201" h="2194562">
                          <a:moveTo>
                            <a:pt x="1" y="1097280"/>
                          </a:moveTo>
                          <a:lnTo>
                            <a:pt x="548641" y="0"/>
                          </a:lnTo>
                          <a:lnTo>
                            <a:pt x="2194561" y="0"/>
                          </a:lnTo>
                          <a:lnTo>
                            <a:pt x="2743201" y="1097280"/>
                          </a:lnTo>
                          <a:close/>
                          <a:moveTo>
                            <a:pt x="0" y="1097282"/>
                          </a:moveTo>
                          <a:lnTo>
                            <a:pt x="2743200" y="1097282"/>
                          </a:lnTo>
                          <a:lnTo>
                            <a:pt x="2194560" y="2194562"/>
                          </a:lnTo>
                          <a:lnTo>
                            <a:pt x="548640" y="2194562"/>
                          </a:lnTo>
                          <a:close/>
                        </a:path>
                      </a:pathLst>
                    </a:custGeom>
                    <a:solidFill>
                      <a:srgbClr val="66903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2200">
                        <a:solidFill>
                          <a:srgbClr val="F3F3F3"/>
                        </a:solidFill>
                        <a:latin typeface="Century Gothic" panose="020B0502020202020204" pitchFamily="34" charset="0"/>
                      </a:endParaRPr>
                    </a:p>
                  </p:txBody>
                </p:sp>
              </p:grpSp>
              <p:sp>
                <p:nvSpPr>
                  <p:cNvPr id="171" name="Rectangle 170"/>
                  <p:cNvSpPr/>
                  <p:nvPr/>
                </p:nvSpPr>
                <p:spPr>
                  <a:xfrm>
                    <a:off x="5526090" y="2857951"/>
                    <a:ext cx="1114903" cy="11420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FFFFF"/>
                      </a:solidFill>
                      <a:latin typeface="Century Gothic" panose="020B0502020202020204" pitchFamily="34" charset="0"/>
                    </a:endParaRPr>
                  </a:p>
                </p:txBody>
              </p:sp>
            </p:grpSp>
            <p:grpSp>
              <p:nvGrpSpPr>
                <p:cNvPr id="191" name="Group 190">
                  <a:extLst>
                    <a:ext uri="{FF2B5EF4-FFF2-40B4-BE49-F238E27FC236}">
                      <a16:creationId xmlns:a16="http://schemas.microsoft.com/office/drawing/2014/main" id="{D822F3F4-702C-49C3-8D06-CE20D575A6B1}"/>
                    </a:ext>
                  </a:extLst>
                </p:cNvPr>
                <p:cNvGrpSpPr/>
                <p:nvPr/>
              </p:nvGrpSpPr>
              <p:grpSpPr>
                <a:xfrm flipH="1">
                  <a:off x="4160873" y="2549867"/>
                  <a:ext cx="1630524" cy="1902277"/>
                  <a:chOff x="619396" y="1862399"/>
                  <a:chExt cx="2194561" cy="2560320"/>
                </a:xfrm>
                <a:solidFill>
                  <a:srgbClr val="FFFFFF">
                    <a:alpha val="75000"/>
                  </a:srgbClr>
                </a:solidFill>
              </p:grpSpPr>
              <p:sp>
                <p:nvSpPr>
                  <p:cNvPr id="192" name="Flowchart: Manual Operation 191">
                    <a:extLst>
                      <a:ext uri="{FF2B5EF4-FFF2-40B4-BE49-F238E27FC236}">
                        <a16:creationId xmlns:a16="http://schemas.microsoft.com/office/drawing/2014/main" id="{13968875-6991-453A-8772-B599413D69A9}"/>
                      </a:ext>
                    </a:extLst>
                  </p:cNvPr>
                  <p:cNvSpPr/>
                  <p:nvPr/>
                </p:nvSpPr>
                <p:spPr>
                  <a:xfrm rot="5400000">
                    <a:off x="-95658" y="2599115"/>
                    <a:ext cx="2552251" cy="1094957"/>
                  </a:xfrm>
                  <a:prstGeom prst="flowChartManualOperation">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193" name="Freeform: Shape 6">
                    <a:extLst>
                      <a:ext uri="{FF2B5EF4-FFF2-40B4-BE49-F238E27FC236}">
                        <a16:creationId xmlns:a16="http://schemas.microsoft.com/office/drawing/2014/main" id="{5D3D4BA2-A523-41E2-8910-97EC2384FE6A}"/>
                      </a:ext>
                    </a:extLst>
                  </p:cNvPr>
                  <p:cNvSpPr/>
                  <p:nvPr/>
                </p:nvSpPr>
                <p:spPr>
                  <a:xfrm rot="5400000">
                    <a:off x="436517" y="2045278"/>
                    <a:ext cx="2560320" cy="2194561"/>
                  </a:xfrm>
                  <a:custGeom>
                    <a:avLst/>
                    <a:gdLst>
                      <a:gd name="connsiteX0" fmla="*/ 1 w 2743201"/>
                      <a:gd name="connsiteY0" fmla="*/ 1097280 h 2194562"/>
                      <a:gd name="connsiteX1" fmla="*/ 548641 w 2743201"/>
                      <a:gd name="connsiteY1" fmla="*/ 0 h 2194562"/>
                      <a:gd name="connsiteX2" fmla="*/ 2194561 w 2743201"/>
                      <a:gd name="connsiteY2" fmla="*/ 0 h 2194562"/>
                      <a:gd name="connsiteX3" fmla="*/ 2743201 w 2743201"/>
                      <a:gd name="connsiteY3" fmla="*/ 1097280 h 2194562"/>
                      <a:gd name="connsiteX4" fmla="*/ 0 w 2743201"/>
                      <a:gd name="connsiteY4" fmla="*/ 1097282 h 2194562"/>
                      <a:gd name="connsiteX5" fmla="*/ 2743200 w 2743201"/>
                      <a:gd name="connsiteY5" fmla="*/ 1097282 h 2194562"/>
                      <a:gd name="connsiteX6" fmla="*/ 2194560 w 2743201"/>
                      <a:gd name="connsiteY6" fmla="*/ 2194562 h 2194562"/>
                      <a:gd name="connsiteX7" fmla="*/ 548640 w 2743201"/>
                      <a:gd name="connsiteY7" fmla="*/ 2194562 h 219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43201" h="2194562">
                        <a:moveTo>
                          <a:pt x="1" y="1097280"/>
                        </a:moveTo>
                        <a:lnTo>
                          <a:pt x="548641" y="0"/>
                        </a:lnTo>
                        <a:lnTo>
                          <a:pt x="2194561" y="0"/>
                        </a:lnTo>
                        <a:lnTo>
                          <a:pt x="2743201" y="1097280"/>
                        </a:lnTo>
                        <a:close/>
                        <a:moveTo>
                          <a:pt x="0" y="1097282"/>
                        </a:moveTo>
                        <a:lnTo>
                          <a:pt x="2743200" y="1097282"/>
                        </a:lnTo>
                        <a:lnTo>
                          <a:pt x="2194560" y="2194562"/>
                        </a:lnTo>
                        <a:lnTo>
                          <a:pt x="548640" y="219456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2200">
                      <a:solidFill>
                        <a:srgbClr val="F3F3F3"/>
                      </a:solidFill>
                      <a:latin typeface="Century Gothic" panose="020B0502020202020204" pitchFamily="34" charset="0"/>
                    </a:endParaRPr>
                  </a:p>
                </p:txBody>
              </p:sp>
            </p:grpSp>
          </p:grpSp>
          <p:grpSp>
            <p:nvGrpSpPr>
              <p:cNvPr id="88" name="Group 87"/>
              <p:cNvGrpSpPr/>
              <p:nvPr/>
            </p:nvGrpSpPr>
            <p:grpSpPr>
              <a:xfrm>
                <a:off x="4375677" y="2813251"/>
                <a:ext cx="1173208" cy="1213542"/>
                <a:chOff x="4544995" y="2397228"/>
                <a:chExt cx="3636996" cy="3762032"/>
              </a:xfrm>
            </p:grpSpPr>
            <p:sp>
              <p:nvSpPr>
                <p:cNvPr id="89" name="Freeform 88"/>
                <p:cNvSpPr/>
                <p:nvPr/>
              </p:nvSpPr>
              <p:spPr>
                <a:xfrm>
                  <a:off x="5007011" y="2644095"/>
                  <a:ext cx="2712815" cy="3515164"/>
                </a:xfrm>
                <a:custGeom>
                  <a:avLst/>
                  <a:gdLst>
                    <a:gd name="connsiteX0" fmla="*/ 1132529 w 2265057"/>
                    <a:gd name="connsiteY0" fmla="*/ 0 h 3314716"/>
                    <a:gd name="connsiteX1" fmla="*/ 2265057 w 2265057"/>
                    <a:gd name="connsiteY1" fmla="*/ 1361885 h 3314716"/>
                    <a:gd name="connsiteX2" fmla="*/ 2265057 w 2265057"/>
                    <a:gd name="connsiteY2" fmla="*/ 3314716 h 3314716"/>
                    <a:gd name="connsiteX3" fmla="*/ 0 w 2265057"/>
                    <a:gd name="connsiteY3" fmla="*/ 3314716 h 3314716"/>
                    <a:gd name="connsiteX4" fmla="*/ 0 w 2265057"/>
                    <a:gd name="connsiteY4" fmla="*/ 1361885 h 33147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65057" h="3314716">
                      <a:moveTo>
                        <a:pt x="1132529" y="0"/>
                      </a:moveTo>
                      <a:lnTo>
                        <a:pt x="2265057" y="1361885"/>
                      </a:lnTo>
                      <a:lnTo>
                        <a:pt x="2265057" y="3314716"/>
                      </a:lnTo>
                      <a:lnTo>
                        <a:pt x="0" y="3314716"/>
                      </a:lnTo>
                      <a:lnTo>
                        <a:pt x="0" y="1361885"/>
                      </a:lnTo>
                      <a:close/>
                    </a:path>
                  </a:pathLst>
                </a:custGeom>
                <a:solidFill>
                  <a:srgbClr val="B5CB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90" name="Rectangle 89"/>
                <p:cNvSpPr/>
                <p:nvPr/>
              </p:nvSpPr>
              <p:spPr>
                <a:xfrm>
                  <a:off x="5007011" y="5790540"/>
                  <a:ext cx="2712815" cy="368719"/>
                </a:xfrm>
                <a:prstGeom prst="rect">
                  <a:avLst/>
                </a:prstGeom>
                <a:solidFill>
                  <a:srgbClr val="95A5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91" name="Rectangle 90"/>
                <p:cNvSpPr/>
                <p:nvPr/>
              </p:nvSpPr>
              <p:spPr>
                <a:xfrm>
                  <a:off x="5916019" y="4753156"/>
                  <a:ext cx="914400" cy="1406104"/>
                </a:xfrm>
                <a:prstGeom prst="rect">
                  <a:avLst/>
                </a:prstGeom>
                <a:solidFill>
                  <a:srgbClr val="E74C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pic>
              <p:nvPicPr>
                <p:cNvPr id="92" name="Picture 91"/>
                <p:cNvPicPr>
                  <a:picLocks noChangeAspect="1"/>
                </p:cNvPicPr>
                <p:nvPr/>
              </p:nvPicPr>
              <p:blipFill>
                <a:blip r:embed="rId4"/>
                <a:stretch>
                  <a:fillRect/>
                </a:stretch>
              </p:blipFill>
              <p:spPr>
                <a:xfrm>
                  <a:off x="4773862" y="2644094"/>
                  <a:ext cx="3179111" cy="1633074"/>
                </a:xfrm>
                <a:prstGeom prst="rect">
                  <a:avLst/>
                </a:prstGeom>
              </p:spPr>
            </p:pic>
            <p:sp>
              <p:nvSpPr>
                <p:cNvPr id="93" name="Diagonal Stripe 92"/>
                <p:cNvSpPr/>
                <p:nvPr/>
              </p:nvSpPr>
              <p:spPr>
                <a:xfrm flipV="1">
                  <a:off x="6355838" y="2397228"/>
                  <a:ext cx="1826153" cy="1907213"/>
                </a:xfrm>
                <a:prstGeom prst="diagStripe">
                  <a:avLst>
                    <a:gd name="adj" fmla="val 73063"/>
                  </a:avLst>
                </a:prstGeom>
                <a:solidFill>
                  <a:srgbClr val="E74C3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prstClr val="black"/>
                    </a:solidFill>
                    <a:latin typeface="Century Gothic" panose="020B0502020202020204" pitchFamily="34" charset="0"/>
                  </a:endParaRPr>
                </a:p>
              </p:txBody>
            </p:sp>
            <p:sp>
              <p:nvSpPr>
                <p:cNvPr id="94" name="Diagonal Stripe 93"/>
                <p:cNvSpPr/>
                <p:nvPr/>
              </p:nvSpPr>
              <p:spPr>
                <a:xfrm flipH="1" flipV="1">
                  <a:off x="4544995" y="2397991"/>
                  <a:ext cx="1826153" cy="1907213"/>
                </a:xfrm>
                <a:prstGeom prst="diagStripe">
                  <a:avLst>
                    <a:gd name="adj" fmla="val 73063"/>
                  </a:avLst>
                </a:prstGeom>
                <a:solidFill>
                  <a:srgbClr val="E74C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prstClr val="black"/>
                    </a:solidFill>
                    <a:latin typeface="Century Gothic" panose="020B0502020202020204" pitchFamily="34" charset="0"/>
                  </a:endParaRPr>
                </a:p>
              </p:txBody>
            </p:sp>
            <p:sp>
              <p:nvSpPr>
                <p:cNvPr id="95" name="Rectangle 94"/>
                <p:cNvSpPr/>
                <p:nvPr/>
              </p:nvSpPr>
              <p:spPr>
                <a:xfrm>
                  <a:off x="5916777" y="4754204"/>
                  <a:ext cx="913642" cy="203647"/>
                </a:xfrm>
                <a:prstGeom prst="rect">
                  <a:avLst/>
                </a:prstGeom>
                <a:solidFill>
                  <a:srgbClr val="C0392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grpSp>
              <p:nvGrpSpPr>
                <p:cNvPr id="96" name="Group 95"/>
                <p:cNvGrpSpPr/>
                <p:nvPr/>
              </p:nvGrpSpPr>
              <p:grpSpPr>
                <a:xfrm>
                  <a:off x="5954629" y="5428822"/>
                  <a:ext cx="187091" cy="190753"/>
                  <a:chOff x="5954629" y="5476055"/>
                  <a:chExt cx="140765" cy="143520"/>
                </a:xfrm>
              </p:grpSpPr>
              <p:sp>
                <p:nvSpPr>
                  <p:cNvPr id="99" name="Oval 98"/>
                  <p:cNvSpPr/>
                  <p:nvPr/>
                </p:nvSpPr>
                <p:spPr>
                  <a:xfrm>
                    <a:off x="5973802" y="5497983"/>
                    <a:ext cx="121592" cy="121592"/>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100" name="Oval 99"/>
                  <p:cNvSpPr/>
                  <p:nvPr/>
                </p:nvSpPr>
                <p:spPr>
                  <a:xfrm>
                    <a:off x="5954629" y="5476055"/>
                    <a:ext cx="133751" cy="1337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grpSp>
            <p:sp>
              <p:nvSpPr>
                <p:cNvPr id="97" name="Oval 96"/>
                <p:cNvSpPr/>
                <p:nvPr/>
              </p:nvSpPr>
              <p:spPr>
                <a:xfrm>
                  <a:off x="6007056" y="3727733"/>
                  <a:ext cx="703414" cy="703414"/>
                </a:xfrm>
                <a:prstGeom prst="ellipse">
                  <a:avLst/>
                </a:prstGeom>
                <a:solidFill>
                  <a:srgbClr val="2980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98" name="Oval 97"/>
                <p:cNvSpPr/>
                <p:nvPr/>
              </p:nvSpPr>
              <p:spPr>
                <a:xfrm>
                  <a:off x="6027412" y="3862130"/>
                  <a:ext cx="662888" cy="569017"/>
                </a:xfrm>
                <a:prstGeom prst="ellipse">
                  <a:avLst/>
                </a:prstGeom>
                <a:solidFill>
                  <a:srgbClr val="3498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grpSp>
        </p:grpSp>
        <p:sp>
          <p:nvSpPr>
            <p:cNvPr id="200" name="TextBox 199">
              <a:extLst>
                <a:ext uri="{FF2B5EF4-FFF2-40B4-BE49-F238E27FC236}">
                  <a16:creationId xmlns:a16="http://schemas.microsoft.com/office/drawing/2014/main" id="{354507D8-2A10-4B23-94A6-0401BDA1E526}"/>
                </a:ext>
              </a:extLst>
            </p:cNvPr>
            <p:cNvSpPr txBox="1"/>
            <p:nvPr/>
          </p:nvSpPr>
          <p:spPr>
            <a:xfrm>
              <a:off x="3577001" y="5039939"/>
              <a:ext cx="2843353" cy="769441"/>
            </a:xfrm>
            <a:prstGeom prst="rect">
              <a:avLst/>
            </a:prstGeom>
            <a:noFill/>
          </p:spPr>
          <p:txBody>
            <a:bodyPr wrap="square" rtlCol="0">
              <a:spAutoFit/>
            </a:bodyPr>
            <a:lstStyle/>
            <a:p>
              <a:pPr algn="ctr"/>
              <a:r>
                <a:rPr lang="en-US" sz="2200" b="1" spc="300" dirty="0">
                  <a:solidFill>
                    <a:srgbClr val="FFFFFF"/>
                  </a:solidFill>
                  <a:latin typeface="Century Gothic" panose="020B0502020202020204" pitchFamily="34" charset="0"/>
                </a:rPr>
                <a:t>HOUSING COUNSELING</a:t>
              </a:r>
            </a:p>
          </p:txBody>
        </p:sp>
      </p:grpSp>
      <p:grpSp>
        <p:nvGrpSpPr>
          <p:cNvPr id="17" name="Group 16">
            <a:extLst>
              <a:ext uri="{FF2B5EF4-FFF2-40B4-BE49-F238E27FC236}">
                <a16:creationId xmlns:a16="http://schemas.microsoft.com/office/drawing/2014/main" id="{D4C1C4BE-3B27-413D-A7D5-EC1D8BC35B10}"/>
              </a:ext>
            </a:extLst>
          </p:cNvPr>
          <p:cNvGrpSpPr/>
          <p:nvPr/>
        </p:nvGrpSpPr>
        <p:grpSpPr>
          <a:xfrm>
            <a:off x="8758675" y="2232292"/>
            <a:ext cx="2910817" cy="3581325"/>
            <a:chOff x="8789155" y="2228055"/>
            <a:chExt cx="2910817" cy="3581325"/>
          </a:xfrm>
        </p:grpSpPr>
        <p:grpSp>
          <p:nvGrpSpPr>
            <p:cNvPr id="4" name="Group 3"/>
            <p:cNvGrpSpPr/>
            <p:nvPr/>
          </p:nvGrpSpPr>
          <p:grpSpPr>
            <a:xfrm>
              <a:off x="9140395" y="2228055"/>
              <a:ext cx="2170228" cy="2531930"/>
              <a:chOff x="9140395" y="2228055"/>
              <a:chExt cx="2170228" cy="2531930"/>
            </a:xfrm>
          </p:grpSpPr>
          <p:grpSp>
            <p:nvGrpSpPr>
              <p:cNvPr id="8" name="Group 7"/>
              <p:cNvGrpSpPr/>
              <p:nvPr/>
            </p:nvGrpSpPr>
            <p:grpSpPr>
              <a:xfrm>
                <a:off x="9140395" y="2228055"/>
                <a:ext cx="2170228" cy="2531930"/>
                <a:chOff x="9140395" y="2228055"/>
                <a:chExt cx="2170228" cy="2531930"/>
              </a:xfrm>
            </p:grpSpPr>
            <p:grpSp>
              <p:nvGrpSpPr>
                <p:cNvPr id="179" name="Group 178"/>
                <p:cNvGrpSpPr/>
                <p:nvPr/>
              </p:nvGrpSpPr>
              <p:grpSpPr>
                <a:xfrm>
                  <a:off x="9140395" y="2228055"/>
                  <a:ext cx="2170228" cy="2531930"/>
                  <a:chOff x="5000726" y="2163035"/>
                  <a:chExt cx="2170228" cy="2531930"/>
                </a:xfrm>
              </p:grpSpPr>
              <p:grpSp>
                <p:nvGrpSpPr>
                  <p:cNvPr id="180" name="Group 179">
                    <a:extLst>
                      <a:ext uri="{FF2B5EF4-FFF2-40B4-BE49-F238E27FC236}">
                        <a16:creationId xmlns:a16="http://schemas.microsoft.com/office/drawing/2014/main" id="{D822F3F4-702C-49C3-8D06-CE20D575A6B1}"/>
                      </a:ext>
                    </a:extLst>
                  </p:cNvPr>
                  <p:cNvGrpSpPr/>
                  <p:nvPr/>
                </p:nvGrpSpPr>
                <p:grpSpPr>
                  <a:xfrm>
                    <a:off x="5000726" y="2163035"/>
                    <a:ext cx="2170228" cy="2531930"/>
                    <a:chOff x="632989" y="1862399"/>
                    <a:chExt cx="2194562" cy="2560320"/>
                  </a:xfrm>
                </p:grpSpPr>
                <p:sp>
                  <p:nvSpPr>
                    <p:cNvPr id="182" name="Flowchart: Manual Operation 181">
                      <a:extLst>
                        <a:ext uri="{FF2B5EF4-FFF2-40B4-BE49-F238E27FC236}">
                          <a16:creationId xmlns:a16="http://schemas.microsoft.com/office/drawing/2014/main" id="{13968875-6991-453A-8772-B599413D69A9}"/>
                        </a:ext>
                      </a:extLst>
                    </p:cNvPr>
                    <p:cNvSpPr/>
                    <p:nvPr/>
                  </p:nvSpPr>
                  <p:spPr>
                    <a:xfrm rot="5400000">
                      <a:off x="-95658" y="2599115"/>
                      <a:ext cx="2552251" cy="1094957"/>
                    </a:xfrm>
                    <a:prstGeom prst="flowChartManualOperation">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183" name="Freeform: Shape 6">
                      <a:extLst>
                        <a:ext uri="{FF2B5EF4-FFF2-40B4-BE49-F238E27FC236}">
                          <a16:creationId xmlns:a16="http://schemas.microsoft.com/office/drawing/2014/main" id="{5D3D4BA2-A523-41E2-8910-97EC2384FE6A}"/>
                        </a:ext>
                      </a:extLst>
                    </p:cNvPr>
                    <p:cNvSpPr/>
                    <p:nvPr/>
                  </p:nvSpPr>
                  <p:spPr>
                    <a:xfrm rot="5400000">
                      <a:off x="450110" y="2045278"/>
                      <a:ext cx="2560320" cy="2194562"/>
                    </a:xfrm>
                    <a:custGeom>
                      <a:avLst/>
                      <a:gdLst>
                        <a:gd name="connsiteX0" fmla="*/ 1 w 2743201"/>
                        <a:gd name="connsiteY0" fmla="*/ 1097280 h 2194562"/>
                        <a:gd name="connsiteX1" fmla="*/ 548641 w 2743201"/>
                        <a:gd name="connsiteY1" fmla="*/ 0 h 2194562"/>
                        <a:gd name="connsiteX2" fmla="*/ 2194561 w 2743201"/>
                        <a:gd name="connsiteY2" fmla="*/ 0 h 2194562"/>
                        <a:gd name="connsiteX3" fmla="*/ 2743201 w 2743201"/>
                        <a:gd name="connsiteY3" fmla="*/ 1097280 h 2194562"/>
                        <a:gd name="connsiteX4" fmla="*/ 0 w 2743201"/>
                        <a:gd name="connsiteY4" fmla="*/ 1097282 h 2194562"/>
                        <a:gd name="connsiteX5" fmla="*/ 2743200 w 2743201"/>
                        <a:gd name="connsiteY5" fmla="*/ 1097282 h 2194562"/>
                        <a:gd name="connsiteX6" fmla="*/ 2194560 w 2743201"/>
                        <a:gd name="connsiteY6" fmla="*/ 2194562 h 2194562"/>
                        <a:gd name="connsiteX7" fmla="*/ 548640 w 2743201"/>
                        <a:gd name="connsiteY7" fmla="*/ 2194562 h 219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43201" h="2194562">
                          <a:moveTo>
                            <a:pt x="1" y="1097280"/>
                          </a:moveTo>
                          <a:lnTo>
                            <a:pt x="548641" y="0"/>
                          </a:lnTo>
                          <a:lnTo>
                            <a:pt x="2194561" y="0"/>
                          </a:lnTo>
                          <a:lnTo>
                            <a:pt x="2743201" y="1097280"/>
                          </a:lnTo>
                          <a:close/>
                          <a:moveTo>
                            <a:pt x="0" y="1097282"/>
                          </a:moveTo>
                          <a:lnTo>
                            <a:pt x="2743200" y="1097282"/>
                          </a:lnTo>
                          <a:lnTo>
                            <a:pt x="2194560" y="2194562"/>
                          </a:lnTo>
                          <a:lnTo>
                            <a:pt x="548640" y="2194562"/>
                          </a:lnTo>
                          <a:close/>
                        </a:path>
                      </a:pathLst>
                    </a:custGeom>
                    <a:solidFill>
                      <a:srgbClr val="66903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2200">
                        <a:solidFill>
                          <a:srgbClr val="F3F3F3"/>
                        </a:solidFill>
                        <a:latin typeface="Century Gothic" panose="020B0502020202020204" pitchFamily="34" charset="0"/>
                      </a:endParaRPr>
                    </a:p>
                  </p:txBody>
                </p:sp>
              </p:grpSp>
              <p:sp>
                <p:nvSpPr>
                  <p:cNvPr id="181" name="Rectangle 180"/>
                  <p:cNvSpPr/>
                  <p:nvPr/>
                </p:nvSpPr>
                <p:spPr>
                  <a:xfrm>
                    <a:off x="5526090" y="2857951"/>
                    <a:ext cx="1114903" cy="11420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FFFFF"/>
                      </a:solidFill>
                      <a:latin typeface="Century Gothic" panose="020B0502020202020204" pitchFamily="34" charset="0"/>
                    </a:endParaRPr>
                  </a:p>
                </p:txBody>
              </p:sp>
            </p:grpSp>
            <p:grpSp>
              <p:nvGrpSpPr>
                <p:cNvPr id="197" name="Group 196">
                  <a:extLst>
                    <a:ext uri="{FF2B5EF4-FFF2-40B4-BE49-F238E27FC236}">
                      <a16:creationId xmlns:a16="http://schemas.microsoft.com/office/drawing/2014/main" id="{D822F3F4-702C-49C3-8D06-CE20D575A6B1}"/>
                    </a:ext>
                  </a:extLst>
                </p:cNvPr>
                <p:cNvGrpSpPr/>
                <p:nvPr/>
              </p:nvGrpSpPr>
              <p:grpSpPr>
                <a:xfrm flipH="1">
                  <a:off x="9407948" y="2545910"/>
                  <a:ext cx="1630524" cy="1902277"/>
                  <a:chOff x="619396" y="1862399"/>
                  <a:chExt cx="2194561" cy="2560320"/>
                </a:xfrm>
                <a:solidFill>
                  <a:srgbClr val="FFFFFF">
                    <a:alpha val="75000"/>
                  </a:srgbClr>
                </a:solidFill>
              </p:grpSpPr>
              <p:sp>
                <p:nvSpPr>
                  <p:cNvPr id="198" name="Flowchart: Manual Operation 197">
                    <a:extLst>
                      <a:ext uri="{FF2B5EF4-FFF2-40B4-BE49-F238E27FC236}">
                        <a16:creationId xmlns:a16="http://schemas.microsoft.com/office/drawing/2014/main" id="{13968875-6991-453A-8772-B599413D69A9}"/>
                      </a:ext>
                    </a:extLst>
                  </p:cNvPr>
                  <p:cNvSpPr/>
                  <p:nvPr/>
                </p:nvSpPr>
                <p:spPr>
                  <a:xfrm rot="5400000">
                    <a:off x="-95658" y="2599115"/>
                    <a:ext cx="2552251" cy="1094957"/>
                  </a:xfrm>
                  <a:prstGeom prst="flowChartManualOperation">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199" name="Freeform: Shape 6">
                    <a:extLst>
                      <a:ext uri="{FF2B5EF4-FFF2-40B4-BE49-F238E27FC236}">
                        <a16:creationId xmlns:a16="http://schemas.microsoft.com/office/drawing/2014/main" id="{5D3D4BA2-A523-41E2-8910-97EC2384FE6A}"/>
                      </a:ext>
                    </a:extLst>
                  </p:cNvPr>
                  <p:cNvSpPr/>
                  <p:nvPr/>
                </p:nvSpPr>
                <p:spPr>
                  <a:xfrm rot="5400000">
                    <a:off x="436517" y="2045278"/>
                    <a:ext cx="2560320" cy="2194561"/>
                  </a:xfrm>
                  <a:custGeom>
                    <a:avLst/>
                    <a:gdLst>
                      <a:gd name="connsiteX0" fmla="*/ 1 w 2743201"/>
                      <a:gd name="connsiteY0" fmla="*/ 1097280 h 2194562"/>
                      <a:gd name="connsiteX1" fmla="*/ 548641 w 2743201"/>
                      <a:gd name="connsiteY1" fmla="*/ 0 h 2194562"/>
                      <a:gd name="connsiteX2" fmla="*/ 2194561 w 2743201"/>
                      <a:gd name="connsiteY2" fmla="*/ 0 h 2194562"/>
                      <a:gd name="connsiteX3" fmla="*/ 2743201 w 2743201"/>
                      <a:gd name="connsiteY3" fmla="*/ 1097280 h 2194562"/>
                      <a:gd name="connsiteX4" fmla="*/ 0 w 2743201"/>
                      <a:gd name="connsiteY4" fmla="*/ 1097282 h 2194562"/>
                      <a:gd name="connsiteX5" fmla="*/ 2743200 w 2743201"/>
                      <a:gd name="connsiteY5" fmla="*/ 1097282 h 2194562"/>
                      <a:gd name="connsiteX6" fmla="*/ 2194560 w 2743201"/>
                      <a:gd name="connsiteY6" fmla="*/ 2194562 h 2194562"/>
                      <a:gd name="connsiteX7" fmla="*/ 548640 w 2743201"/>
                      <a:gd name="connsiteY7" fmla="*/ 2194562 h 219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43201" h="2194562">
                        <a:moveTo>
                          <a:pt x="1" y="1097280"/>
                        </a:moveTo>
                        <a:lnTo>
                          <a:pt x="548641" y="0"/>
                        </a:lnTo>
                        <a:lnTo>
                          <a:pt x="2194561" y="0"/>
                        </a:lnTo>
                        <a:lnTo>
                          <a:pt x="2743201" y="1097280"/>
                        </a:lnTo>
                        <a:close/>
                        <a:moveTo>
                          <a:pt x="0" y="1097282"/>
                        </a:moveTo>
                        <a:lnTo>
                          <a:pt x="2743200" y="1097282"/>
                        </a:lnTo>
                        <a:lnTo>
                          <a:pt x="2194560" y="2194562"/>
                        </a:lnTo>
                        <a:lnTo>
                          <a:pt x="548640" y="219456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2200">
                      <a:solidFill>
                        <a:srgbClr val="F3F3F3"/>
                      </a:solidFill>
                      <a:latin typeface="Century Gothic" panose="020B0502020202020204" pitchFamily="34" charset="0"/>
                    </a:endParaRPr>
                  </a:p>
                </p:txBody>
              </p:sp>
            </p:grpSp>
          </p:grpSp>
          <p:grpSp>
            <p:nvGrpSpPr>
              <p:cNvPr id="148" name="Group 147"/>
              <p:cNvGrpSpPr/>
              <p:nvPr/>
            </p:nvGrpSpPr>
            <p:grpSpPr>
              <a:xfrm>
                <a:off x="9798583" y="2772831"/>
                <a:ext cx="839123" cy="1425752"/>
                <a:chOff x="929500" y="-172561"/>
                <a:chExt cx="2202388" cy="3742073"/>
              </a:xfrm>
            </p:grpSpPr>
            <p:sp>
              <p:nvSpPr>
                <p:cNvPr id="149" name="Freeform 148"/>
                <p:cNvSpPr/>
                <p:nvPr/>
              </p:nvSpPr>
              <p:spPr>
                <a:xfrm rot="7452181">
                  <a:off x="7587" y="1199438"/>
                  <a:ext cx="3698685" cy="954688"/>
                </a:xfrm>
                <a:custGeom>
                  <a:avLst/>
                  <a:gdLst>
                    <a:gd name="connsiteX0" fmla="*/ 2294263 w 2634232"/>
                    <a:gd name="connsiteY0" fmla="*/ 180231 h 679936"/>
                    <a:gd name="connsiteX1" fmla="*/ 2134526 w 2634232"/>
                    <a:gd name="connsiteY1" fmla="*/ 339968 h 679936"/>
                    <a:gd name="connsiteX2" fmla="*/ 2294263 w 2634232"/>
                    <a:gd name="connsiteY2" fmla="*/ 499705 h 679936"/>
                    <a:gd name="connsiteX3" fmla="*/ 2454000 w 2634232"/>
                    <a:gd name="connsiteY3" fmla="*/ 339968 h 679936"/>
                    <a:gd name="connsiteX4" fmla="*/ 2294263 w 2634232"/>
                    <a:gd name="connsiteY4" fmla="*/ 180231 h 679936"/>
                    <a:gd name="connsiteX5" fmla="*/ 2294264 w 2634232"/>
                    <a:gd name="connsiteY5" fmla="*/ 0 h 679936"/>
                    <a:gd name="connsiteX6" fmla="*/ 2634232 w 2634232"/>
                    <a:gd name="connsiteY6" fmla="*/ 339968 h 679936"/>
                    <a:gd name="connsiteX7" fmla="*/ 2294264 w 2634232"/>
                    <a:gd name="connsiteY7" fmla="*/ 679936 h 679936"/>
                    <a:gd name="connsiteX8" fmla="*/ 1981013 w 2634232"/>
                    <a:gd name="connsiteY8" fmla="*/ 472299 h 679936"/>
                    <a:gd name="connsiteX9" fmla="*/ 1960830 w 2634232"/>
                    <a:gd name="connsiteY9" fmla="*/ 372331 h 679936"/>
                    <a:gd name="connsiteX10" fmla="*/ 1959553 w 2634232"/>
                    <a:gd name="connsiteY10" fmla="*/ 372589 h 679936"/>
                    <a:gd name="connsiteX11" fmla="*/ 1535356 w 2634232"/>
                    <a:gd name="connsiteY11" fmla="*/ 372589 h 679936"/>
                    <a:gd name="connsiteX12" fmla="*/ 1536852 w 2634232"/>
                    <a:gd name="connsiteY12" fmla="*/ 373534 h 679936"/>
                    <a:gd name="connsiteX13" fmla="*/ 0 w 2634232"/>
                    <a:gd name="connsiteY13" fmla="*/ 373624 h 679936"/>
                    <a:gd name="connsiteX14" fmla="*/ 444923 w 2634232"/>
                    <a:gd name="connsiteY14" fmla="*/ 48767 h 679936"/>
                    <a:gd name="connsiteX15" fmla="*/ 555725 w 2634232"/>
                    <a:gd name="connsiteY15" fmla="*/ 39824 h 679936"/>
                    <a:gd name="connsiteX16" fmla="*/ 583278 w 2634232"/>
                    <a:gd name="connsiteY16" fmla="*/ 34261 h 679936"/>
                    <a:gd name="connsiteX17" fmla="*/ 1959553 w 2634232"/>
                    <a:gd name="connsiteY17" fmla="*/ 34261 h 679936"/>
                    <a:gd name="connsiteX18" fmla="*/ 2024808 w 2634232"/>
                    <a:gd name="connsiteY18" fmla="*/ 47435 h 679936"/>
                    <a:gd name="connsiteX19" fmla="*/ 2075577 w 2634232"/>
                    <a:gd name="connsiteY19" fmla="*/ 81665 h 679936"/>
                    <a:gd name="connsiteX20" fmla="*/ 2104185 w 2634232"/>
                    <a:gd name="connsiteY20" fmla="*/ 58061 h 679936"/>
                    <a:gd name="connsiteX21" fmla="*/ 2294264 w 2634232"/>
                    <a:gd name="connsiteY21" fmla="*/ 0 h 679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34232" h="679936">
                      <a:moveTo>
                        <a:pt x="2294263" y="180231"/>
                      </a:moveTo>
                      <a:cubicBezTo>
                        <a:pt x="2206043" y="180231"/>
                        <a:pt x="2134526" y="251748"/>
                        <a:pt x="2134526" y="339968"/>
                      </a:cubicBezTo>
                      <a:cubicBezTo>
                        <a:pt x="2134526" y="428188"/>
                        <a:pt x="2206043" y="499705"/>
                        <a:pt x="2294263" y="499705"/>
                      </a:cubicBezTo>
                      <a:cubicBezTo>
                        <a:pt x="2382483" y="499705"/>
                        <a:pt x="2454000" y="428188"/>
                        <a:pt x="2454000" y="339968"/>
                      </a:cubicBezTo>
                      <a:cubicBezTo>
                        <a:pt x="2454000" y="251748"/>
                        <a:pt x="2382483" y="180231"/>
                        <a:pt x="2294263" y="180231"/>
                      </a:cubicBezTo>
                      <a:close/>
                      <a:moveTo>
                        <a:pt x="2294264" y="0"/>
                      </a:moveTo>
                      <a:cubicBezTo>
                        <a:pt x="2482023" y="0"/>
                        <a:pt x="2634232" y="152209"/>
                        <a:pt x="2634232" y="339968"/>
                      </a:cubicBezTo>
                      <a:cubicBezTo>
                        <a:pt x="2634232" y="527727"/>
                        <a:pt x="2482023" y="679936"/>
                        <a:pt x="2294264" y="679936"/>
                      </a:cubicBezTo>
                      <a:cubicBezTo>
                        <a:pt x="2153445" y="679936"/>
                        <a:pt x="2032622" y="594319"/>
                        <a:pt x="1981013" y="472299"/>
                      </a:cubicBezTo>
                      <a:lnTo>
                        <a:pt x="1960830" y="372331"/>
                      </a:lnTo>
                      <a:lnTo>
                        <a:pt x="1959553" y="372589"/>
                      </a:lnTo>
                      <a:lnTo>
                        <a:pt x="1535356" y="372589"/>
                      </a:lnTo>
                      <a:lnTo>
                        <a:pt x="1536852" y="373534"/>
                      </a:lnTo>
                      <a:lnTo>
                        <a:pt x="0" y="373624"/>
                      </a:lnTo>
                      <a:cubicBezTo>
                        <a:pt x="68900" y="195123"/>
                        <a:pt x="229007" y="82854"/>
                        <a:pt x="444923" y="48767"/>
                      </a:cubicBezTo>
                      <a:lnTo>
                        <a:pt x="555725" y="39824"/>
                      </a:lnTo>
                      <a:lnTo>
                        <a:pt x="583278" y="34261"/>
                      </a:lnTo>
                      <a:lnTo>
                        <a:pt x="1959553" y="34261"/>
                      </a:lnTo>
                      <a:cubicBezTo>
                        <a:pt x="1982700" y="34261"/>
                        <a:pt x="2004751" y="38952"/>
                        <a:pt x="2024808" y="47435"/>
                      </a:cubicBezTo>
                      <a:lnTo>
                        <a:pt x="2075577" y="81665"/>
                      </a:lnTo>
                      <a:lnTo>
                        <a:pt x="2104185" y="58061"/>
                      </a:lnTo>
                      <a:cubicBezTo>
                        <a:pt x="2158444" y="21404"/>
                        <a:pt x="2223854" y="0"/>
                        <a:pt x="2294264" y="0"/>
                      </a:cubicBezTo>
                      <a:close/>
                    </a:path>
                  </a:pathLst>
                </a:custGeom>
                <a:solidFill>
                  <a:srgbClr val="62626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prstClr val="black"/>
                    </a:solidFill>
                    <a:latin typeface="Century Gothic" panose="020B0502020202020204" pitchFamily="34" charset="0"/>
                  </a:endParaRPr>
                </a:p>
              </p:txBody>
            </p:sp>
            <p:grpSp>
              <p:nvGrpSpPr>
                <p:cNvPr id="150" name="Group 149"/>
                <p:cNvGrpSpPr/>
                <p:nvPr/>
              </p:nvGrpSpPr>
              <p:grpSpPr>
                <a:xfrm>
                  <a:off x="929500" y="311650"/>
                  <a:ext cx="2202388" cy="1333907"/>
                  <a:chOff x="827899" y="230371"/>
                  <a:chExt cx="2202388" cy="1333907"/>
                </a:xfrm>
              </p:grpSpPr>
              <p:sp>
                <p:nvSpPr>
                  <p:cNvPr id="153" name="Rounded Rectangle 152"/>
                  <p:cNvSpPr/>
                  <p:nvPr/>
                </p:nvSpPr>
                <p:spPr>
                  <a:xfrm>
                    <a:off x="832054" y="230371"/>
                    <a:ext cx="2198233" cy="1333907"/>
                  </a:xfrm>
                  <a:prstGeom prst="roundRect">
                    <a:avLst/>
                  </a:prstGeom>
                  <a:solidFill>
                    <a:schemeClr val="accent2"/>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154" name="Rectangle 153"/>
                  <p:cNvSpPr/>
                  <p:nvPr/>
                </p:nvSpPr>
                <p:spPr>
                  <a:xfrm>
                    <a:off x="827899" y="452785"/>
                    <a:ext cx="2202388" cy="374357"/>
                  </a:xfrm>
                  <a:prstGeom prst="rect">
                    <a:avLst/>
                  </a:prstGeom>
                  <a:solidFill>
                    <a:schemeClr val="tx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grpSp>
            <p:sp>
              <p:nvSpPr>
                <p:cNvPr id="151" name="Freeform 150"/>
                <p:cNvSpPr/>
                <p:nvPr/>
              </p:nvSpPr>
              <p:spPr>
                <a:xfrm rot="14050877" flipH="1">
                  <a:off x="162161" y="1242826"/>
                  <a:ext cx="3698685" cy="954688"/>
                </a:xfrm>
                <a:custGeom>
                  <a:avLst/>
                  <a:gdLst>
                    <a:gd name="connsiteX0" fmla="*/ 2294263 w 2634232"/>
                    <a:gd name="connsiteY0" fmla="*/ 180231 h 679936"/>
                    <a:gd name="connsiteX1" fmla="*/ 2134526 w 2634232"/>
                    <a:gd name="connsiteY1" fmla="*/ 339968 h 679936"/>
                    <a:gd name="connsiteX2" fmla="*/ 2294263 w 2634232"/>
                    <a:gd name="connsiteY2" fmla="*/ 499705 h 679936"/>
                    <a:gd name="connsiteX3" fmla="*/ 2454000 w 2634232"/>
                    <a:gd name="connsiteY3" fmla="*/ 339968 h 679936"/>
                    <a:gd name="connsiteX4" fmla="*/ 2294263 w 2634232"/>
                    <a:gd name="connsiteY4" fmla="*/ 180231 h 679936"/>
                    <a:gd name="connsiteX5" fmla="*/ 2294264 w 2634232"/>
                    <a:gd name="connsiteY5" fmla="*/ 0 h 679936"/>
                    <a:gd name="connsiteX6" fmla="*/ 2634232 w 2634232"/>
                    <a:gd name="connsiteY6" fmla="*/ 339968 h 679936"/>
                    <a:gd name="connsiteX7" fmla="*/ 2294264 w 2634232"/>
                    <a:gd name="connsiteY7" fmla="*/ 679936 h 679936"/>
                    <a:gd name="connsiteX8" fmla="*/ 1981013 w 2634232"/>
                    <a:gd name="connsiteY8" fmla="*/ 472299 h 679936"/>
                    <a:gd name="connsiteX9" fmla="*/ 1960830 w 2634232"/>
                    <a:gd name="connsiteY9" fmla="*/ 372331 h 679936"/>
                    <a:gd name="connsiteX10" fmla="*/ 1959553 w 2634232"/>
                    <a:gd name="connsiteY10" fmla="*/ 372589 h 679936"/>
                    <a:gd name="connsiteX11" fmla="*/ 1535356 w 2634232"/>
                    <a:gd name="connsiteY11" fmla="*/ 372589 h 679936"/>
                    <a:gd name="connsiteX12" fmla="*/ 1536852 w 2634232"/>
                    <a:gd name="connsiteY12" fmla="*/ 373534 h 679936"/>
                    <a:gd name="connsiteX13" fmla="*/ 0 w 2634232"/>
                    <a:gd name="connsiteY13" fmla="*/ 373624 h 679936"/>
                    <a:gd name="connsiteX14" fmla="*/ 444923 w 2634232"/>
                    <a:gd name="connsiteY14" fmla="*/ 48767 h 679936"/>
                    <a:gd name="connsiteX15" fmla="*/ 555725 w 2634232"/>
                    <a:gd name="connsiteY15" fmla="*/ 39824 h 679936"/>
                    <a:gd name="connsiteX16" fmla="*/ 583278 w 2634232"/>
                    <a:gd name="connsiteY16" fmla="*/ 34261 h 679936"/>
                    <a:gd name="connsiteX17" fmla="*/ 1959553 w 2634232"/>
                    <a:gd name="connsiteY17" fmla="*/ 34261 h 679936"/>
                    <a:gd name="connsiteX18" fmla="*/ 2024808 w 2634232"/>
                    <a:gd name="connsiteY18" fmla="*/ 47435 h 679936"/>
                    <a:gd name="connsiteX19" fmla="*/ 2075577 w 2634232"/>
                    <a:gd name="connsiteY19" fmla="*/ 81665 h 679936"/>
                    <a:gd name="connsiteX20" fmla="*/ 2104185 w 2634232"/>
                    <a:gd name="connsiteY20" fmla="*/ 58061 h 679936"/>
                    <a:gd name="connsiteX21" fmla="*/ 2294264 w 2634232"/>
                    <a:gd name="connsiteY21" fmla="*/ 0 h 679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634232" h="679936">
                      <a:moveTo>
                        <a:pt x="2294263" y="180231"/>
                      </a:moveTo>
                      <a:cubicBezTo>
                        <a:pt x="2206043" y="180231"/>
                        <a:pt x="2134526" y="251748"/>
                        <a:pt x="2134526" y="339968"/>
                      </a:cubicBezTo>
                      <a:cubicBezTo>
                        <a:pt x="2134526" y="428188"/>
                        <a:pt x="2206043" y="499705"/>
                        <a:pt x="2294263" y="499705"/>
                      </a:cubicBezTo>
                      <a:cubicBezTo>
                        <a:pt x="2382483" y="499705"/>
                        <a:pt x="2454000" y="428188"/>
                        <a:pt x="2454000" y="339968"/>
                      </a:cubicBezTo>
                      <a:cubicBezTo>
                        <a:pt x="2454000" y="251748"/>
                        <a:pt x="2382483" y="180231"/>
                        <a:pt x="2294263" y="180231"/>
                      </a:cubicBezTo>
                      <a:close/>
                      <a:moveTo>
                        <a:pt x="2294264" y="0"/>
                      </a:moveTo>
                      <a:cubicBezTo>
                        <a:pt x="2482023" y="0"/>
                        <a:pt x="2634232" y="152209"/>
                        <a:pt x="2634232" y="339968"/>
                      </a:cubicBezTo>
                      <a:cubicBezTo>
                        <a:pt x="2634232" y="527727"/>
                        <a:pt x="2482023" y="679936"/>
                        <a:pt x="2294264" y="679936"/>
                      </a:cubicBezTo>
                      <a:cubicBezTo>
                        <a:pt x="2153445" y="679936"/>
                        <a:pt x="2032622" y="594319"/>
                        <a:pt x="1981013" y="472299"/>
                      </a:cubicBezTo>
                      <a:lnTo>
                        <a:pt x="1960830" y="372331"/>
                      </a:lnTo>
                      <a:lnTo>
                        <a:pt x="1959553" y="372589"/>
                      </a:lnTo>
                      <a:lnTo>
                        <a:pt x="1535356" y="372589"/>
                      </a:lnTo>
                      <a:lnTo>
                        <a:pt x="1536852" y="373534"/>
                      </a:lnTo>
                      <a:lnTo>
                        <a:pt x="0" y="373624"/>
                      </a:lnTo>
                      <a:cubicBezTo>
                        <a:pt x="68900" y="195123"/>
                        <a:pt x="229007" y="82854"/>
                        <a:pt x="444923" y="48767"/>
                      </a:cubicBezTo>
                      <a:lnTo>
                        <a:pt x="555725" y="39824"/>
                      </a:lnTo>
                      <a:lnTo>
                        <a:pt x="583278" y="34261"/>
                      </a:lnTo>
                      <a:lnTo>
                        <a:pt x="1959553" y="34261"/>
                      </a:lnTo>
                      <a:cubicBezTo>
                        <a:pt x="1982700" y="34261"/>
                        <a:pt x="2004751" y="38952"/>
                        <a:pt x="2024808" y="47435"/>
                      </a:cubicBezTo>
                      <a:lnTo>
                        <a:pt x="2075577" y="81665"/>
                      </a:lnTo>
                      <a:lnTo>
                        <a:pt x="2104185" y="58061"/>
                      </a:lnTo>
                      <a:cubicBezTo>
                        <a:pt x="2158444" y="21404"/>
                        <a:pt x="2223854" y="0"/>
                        <a:pt x="2294264" y="0"/>
                      </a:cubicBezTo>
                      <a:close/>
                    </a:path>
                  </a:pathLst>
                </a:cu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prstClr val="black"/>
                    </a:solidFill>
                    <a:latin typeface="Century Gothic" panose="020B0502020202020204" pitchFamily="34" charset="0"/>
                  </a:endParaRPr>
                </a:p>
              </p:txBody>
            </p:sp>
            <p:sp>
              <p:nvSpPr>
                <p:cNvPr id="152" name="Oval 151"/>
                <p:cNvSpPr/>
                <p:nvPr/>
              </p:nvSpPr>
              <p:spPr>
                <a:xfrm>
                  <a:off x="1808784" y="1817196"/>
                  <a:ext cx="219106" cy="219106"/>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grpSp>
        </p:grpSp>
        <p:sp>
          <p:nvSpPr>
            <p:cNvPr id="202" name="TextBox 201">
              <a:extLst>
                <a:ext uri="{FF2B5EF4-FFF2-40B4-BE49-F238E27FC236}">
                  <a16:creationId xmlns:a16="http://schemas.microsoft.com/office/drawing/2014/main" id="{354507D8-2A10-4B23-94A6-0401BDA1E526}"/>
                </a:ext>
              </a:extLst>
            </p:cNvPr>
            <p:cNvSpPr txBox="1"/>
            <p:nvPr/>
          </p:nvSpPr>
          <p:spPr>
            <a:xfrm>
              <a:off x="8789155" y="5039939"/>
              <a:ext cx="2910817" cy="769441"/>
            </a:xfrm>
            <a:prstGeom prst="rect">
              <a:avLst/>
            </a:prstGeom>
            <a:noFill/>
          </p:spPr>
          <p:txBody>
            <a:bodyPr wrap="square" rtlCol="0">
              <a:spAutoFit/>
            </a:bodyPr>
            <a:lstStyle/>
            <a:p>
              <a:pPr algn="ctr"/>
              <a:r>
                <a:rPr lang="en-US" sz="2200" b="1" spc="300">
                  <a:solidFill>
                    <a:srgbClr val="FFFFFF"/>
                  </a:solidFill>
                  <a:latin typeface="Century Gothic" panose="020B0502020202020204" pitchFamily="34" charset="0"/>
                </a:rPr>
                <a:t>DEBT MANAGEMENT</a:t>
              </a:r>
            </a:p>
          </p:txBody>
        </p:sp>
      </p:grpSp>
      <p:grpSp>
        <p:nvGrpSpPr>
          <p:cNvPr id="11" name="Group 10">
            <a:extLst>
              <a:ext uri="{FF2B5EF4-FFF2-40B4-BE49-F238E27FC236}">
                <a16:creationId xmlns:a16="http://schemas.microsoft.com/office/drawing/2014/main" id="{C973D3FD-C249-4BEA-A38C-B3C422773FBF}"/>
              </a:ext>
            </a:extLst>
          </p:cNvPr>
          <p:cNvGrpSpPr/>
          <p:nvPr/>
        </p:nvGrpSpPr>
        <p:grpSpPr>
          <a:xfrm>
            <a:off x="6186330" y="2227364"/>
            <a:ext cx="2843353" cy="3586253"/>
            <a:chOff x="6216810" y="2223127"/>
            <a:chExt cx="2843353" cy="3586253"/>
          </a:xfrm>
        </p:grpSpPr>
        <p:sp>
          <p:nvSpPr>
            <p:cNvPr id="201" name="TextBox 200">
              <a:extLst>
                <a:ext uri="{FF2B5EF4-FFF2-40B4-BE49-F238E27FC236}">
                  <a16:creationId xmlns:a16="http://schemas.microsoft.com/office/drawing/2014/main" id="{354507D8-2A10-4B23-94A6-0401BDA1E526}"/>
                </a:ext>
              </a:extLst>
            </p:cNvPr>
            <p:cNvSpPr txBox="1"/>
            <p:nvPr/>
          </p:nvSpPr>
          <p:spPr>
            <a:xfrm>
              <a:off x="6216810" y="5039939"/>
              <a:ext cx="2843353" cy="769441"/>
            </a:xfrm>
            <a:prstGeom prst="rect">
              <a:avLst/>
            </a:prstGeom>
            <a:noFill/>
          </p:spPr>
          <p:txBody>
            <a:bodyPr wrap="square" rtlCol="0">
              <a:spAutoFit/>
            </a:bodyPr>
            <a:lstStyle/>
            <a:p>
              <a:pPr algn="ctr"/>
              <a:r>
                <a:rPr lang="en-US" sz="2200" b="1" spc="300">
                  <a:solidFill>
                    <a:srgbClr val="FFFFFF"/>
                  </a:solidFill>
                  <a:latin typeface="Century Gothic" panose="020B0502020202020204" pitchFamily="34" charset="0"/>
                </a:rPr>
                <a:t>STUDENT LOAN COUNSELING</a:t>
              </a:r>
            </a:p>
          </p:txBody>
        </p:sp>
        <p:grpSp>
          <p:nvGrpSpPr>
            <p:cNvPr id="3" name="Group 2">
              <a:extLst>
                <a:ext uri="{FF2B5EF4-FFF2-40B4-BE49-F238E27FC236}">
                  <a16:creationId xmlns:a16="http://schemas.microsoft.com/office/drawing/2014/main" id="{01672EB9-5489-4371-9C82-618C89C146E6}"/>
                </a:ext>
              </a:extLst>
            </p:cNvPr>
            <p:cNvGrpSpPr/>
            <p:nvPr/>
          </p:nvGrpSpPr>
          <p:grpSpPr>
            <a:xfrm>
              <a:off x="6555672" y="2223127"/>
              <a:ext cx="2170228" cy="2531930"/>
              <a:chOff x="6555672" y="2223127"/>
              <a:chExt cx="2170228" cy="2531930"/>
            </a:xfrm>
          </p:grpSpPr>
          <p:grpSp>
            <p:nvGrpSpPr>
              <p:cNvPr id="7" name="Group 6"/>
              <p:cNvGrpSpPr/>
              <p:nvPr/>
            </p:nvGrpSpPr>
            <p:grpSpPr>
              <a:xfrm>
                <a:off x="6555672" y="2223127"/>
                <a:ext cx="2170228" cy="2531930"/>
                <a:chOff x="6555672" y="2223127"/>
                <a:chExt cx="2170228" cy="2531930"/>
              </a:xfrm>
            </p:grpSpPr>
            <p:grpSp>
              <p:nvGrpSpPr>
                <p:cNvPr id="174" name="Group 173"/>
                <p:cNvGrpSpPr/>
                <p:nvPr/>
              </p:nvGrpSpPr>
              <p:grpSpPr>
                <a:xfrm>
                  <a:off x="6555672" y="2223127"/>
                  <a:ext cx="2170228" cy="2531930"/>
                  <a:chOff x="5000726" y="2163035"/>
                  <a:chExt cx="2170228" cy="2531930"/>
                </a:xfrm>
              </p:grpSpPr>
              <p:grpSp>
                <p:nvGrpSpPr>
                  <p:cNvPr id="175" name="Group 174">
                    <a:extLst>
                      <a:ext uri="{FF2B5EF4-FFF2-40B4-BE49-F238E27FC236}">
                        <a16:creationId xmlns:a16="http://schemas.microsoft.com/office/drawing/2014/main" id="{D822F3F4-702C-49C3-8D06-CE20D575A6B1}"/>
                      </a:ext>
                    </a:extLst>
                  </p:cNvPr>
                  <p:cNvGrpSpPr/>
                  <p:nvPr/>
                </p:nvGrpSpPr>
                <p:grpSpPr>
                  <a:xfrm>
                    <a:off x="5000726" y="2163035"/>
                    <a:ext cx="2170228" cy="2531930"/>
                    <a:chOff x="632989" y="1862399"/>
                    <a:chExt cx="2194562" cy="2560320"/>
                  </a:xfrm>
                </p:grpSpPr>
                <p:sp>
                  <p:nvSpPr>
                    <p:cNvPr id="177" name="Flowchart: Manual Operation 176">
                      <a:extLst>
                        <a:ext uri="{FF2B5EF4-FFF2-40B4-BE49-F238E27FC236}">
                          <a16:creationId xmlns:a16="http://schemas.microsoft.com/office/drawing/2014/main" id="{13968875-6991-453A-8772-B599413D69A9}"/>
                        </a:ext>
                      </a:extLst>
                    </p:cNvPr>
                    <p:cNvSpPr/>
                    <p:nvPr/>
                  </p:nvSpPr>
                  <p:spPr>
                    <a:xfrm rot="5400000">
                      <a:off x="-95658" y="2599115"/>
                      <a:ext cx="2552251" cy="1094957"/>
                    </a:xfrm>
                    <a:prstGeom prst="flowChartManualOperation">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178" name="Freeform: Shape 6">
                      <a:extLst>
                        <a:ext uri="{FF2B5EF4-FFF2-40B4-BE49-F238E27FC236}">
                          <a16:creationId xmlns:a16="http://schemas.microsoft.com/office/drawing/2014/main" id="{5D3D4BA2-A523-41E2-8910-97EC2384FE6A}"/>
                        </a:ext>
                      </a:extLst>
                    </p:cNvPr>
                    <p:cNvSpPr/>
                    <p:nvPr/>
                  </p:nvSpPr>
                  <p:spPr>
                    <a:xfrm rot="5400000">
                      <a:off x="450110" y="2045278"/>
                      <a:ext cx="2560320" cy="2194562"/>
                    </a:xfrm>
                    <a:custGeom>
                      <a:avLst/>
                      <a:gdLst>
                        <a:gd name="connsiteX0" fmla="*/ 1 w 2743201"/>
                        <a:gd name="connsiteY0" fmla="*/ 1097280 h 2194562"/>
                        <a:gd name="connsiteX1" fmla="*/ 548641 w 2743201"/>
                        <a:gd name="connsiteY1" fmla="*/ 0 h 2194562"/>
                        <a:gd name="connsiteX2" fmla="*/ 2194561 w 2743201"/>
                        <a:gd name="connsiteY2" fmla="*/ 0 h 2194562"/>
                        <a:gd name="connsiteX3" fmla="*/ 2743201 w 2743201"/>
                        <a:gd name="connsiteY3" fmla="*/ 1097280 h 2194562"/>
                        <a:gd name="connsiteX4" fmla="*/ 0 w 2743201"/>
                        <a:gd name="connsiteY4" fmla="*/ 1097282 h 2194562"/>
                        <a:gd name="connsiteX5" fmla="*/ 2743200 w 2743201"/>
                        <a:gd name="connsiteY5" fmla="*/ 1097282 h 2194562"/>
                        <a:gd name="connsiteX6" fmla="*/ 2194560 w 2743201"/>
                        <a:gd name="connsiteY6" fmla="*/ 2194562 h 2194562"/>
                        <a:gd name="connsiteX7" fmla="*/ 548640 w 2743201"/>
                        <a:gd name="connsiteY7" fmla="*/ 2194562 h 219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43201" h="2194562">
                          <a:moveTo>
                            <a:pt x="1" y="1097280"/>
                          </a:moveTo>
                          <a:lnTo>
                            <a:pt x="548641" y="0"/>
                          </a:lnTo>
                          <a:lnTo>
                            <a:pt x="2194561" y="0"/>
                          </a:lnTo>
                          <a:lnTo>
                            <a:pt x="2743201" y="1097280"/>
                          </a:lnTo>
                          <a:close/>
                          <a:moveTo>
                            <a:pt x="0" y="1097282"/>
                          </a:moveTo>
                          <a:lnTo>
                            <a:pt x="2743200" y="1097282"/>
                          </a:lnTo>
                          <a:lnTo>
                            <a:pt x="2194560" y="2194562"/>
                          </a:lnTo>
                          <a:lnTo>
                            <a:pt x="548640" y="2194562"/>
                          </a:lnTo>
                          <a:close/>
                        </a:path>
                      </a:pathLst>
                    </a:custGeom>
                    <a:solidFill>
                      <a:srgbClr val="669030">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2200">
                        <a:solidFill>
                          <a:srgbClr val="F3F3F3"/>
                        </a:solidFill>
                        <a:latin typeface="Century Gothic" panose="020B0502020202020204" pitchFamily="34" charset="0"/>
                      </a:endParaRPr>
                    </a:p>
                  </p:txBody>
                </p:sp>
              </p:grpSp>
              <p:sp>
                <p:nvSpPr>
                  <p:cNvPr id="176" name="Rectangle 175"/>
                  <p:cNvSpPr/>
                  <p:nvPr/>
                </p:nvSpPr>
                <p:spPr>
                  <a:xfrm>
                    <a:off x="5526090" y="2857951"/>
                    <a:ext cx="1114903" cy="11420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FFFFF"/>
                      </a:solidFill>
                      <a:latin typeface="Century Gothic" panose="020B0502020202020204" pitchFamily="34" charset="0"/>
                    </a:endParaRPr>
                  </a:p>
                </p:txBody>
              </p:sp>
            </p:grpSp>
            <p:grpSp>
              <p:nvGrpSpPr>
                <p:cNvPr id="194" name="Group 193">
                  <a:extLst>
                    <a:ext uri="{FF2B5EF4-FFF2-40B4-BE49-F238E27FC236}">
                      <a16:creationId xmlns:a16="http://schemas.microsoft.com/office/drawing/2014/main" id="{D822F3F4-702C-49C3-8D06-CE20D575A6B1}"/>
                    </a:ext>
                  </a:extLst>
                </p:cNvPr>
                <p:cNvGrpSpPr/>
                <p:nvPr/>
              </p:nvGrpSpPr>
              <p:grpSpPr>
                <a:xfrm flipH="1">
                  <a:off x="6823818" y="2555256"/>
                  <a:ext cx="1630525" cy="1902277"/>
                  <a:chOff x="619396" y="1862399"/>
                  <a:chExt cx="2194561" cy="2560320"/>
                </a:xfrm>
                <a:solidFill>
                  <a:srgbClr val="FFFFFF">
                    <a:alpha val="75000"/>
                  </a:srgbClr>
                </a:solidFill>
              </p:grpSpPr>
              <p:sp>
                <p:nvSpPr>
                  <p:cNvPr id="195" name="Flowchart: Manual Operation 194">
                    <a:extLst>
                      <a:ext uri="{FF2B5EF4-FFF2-40B4-BE49-F238E27FC236}">
                        <a16:creationId xmlns:a16="http://schemas.microsoft.com/office/drawing/2014/main" id="{13968875-6991-453A-8772-B599413D69A9}"/>
                      </a:ext>
                    </a:extLst>
                  </p:cNvPr>
                  <p:cNvSpPr/>
                  <p:nvPr/>
                </p:nvSpPr>
                <p:spPr>
                  <a:xfrm rot="5400000">
                    <a:off x="-95658" y="2599115"/>
                    <a:ext cx="2552251" cy="1094957"/>
                  </a:xfrm>
                  <a:prstGeom prst="flowChartManualOperation">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rgbClr val="F3F3F3"/>
                      </a:solidFill>
                      <a:latin typeface="Century Gothic" panose="020B0502020202020204" pitchFamily="34" charset="0"/>
                    </a:endParaRPr>
                  </a:p>
                </p:txBody>
              </p:sp>
              <p:sp>
                <p:nvSpPr>
                  <p:cNvPr id="196" name="Freeform: Shape 6">
                    <a:extLst>
                      <a:ext uri="{FF2B5EF4-FFF2-40B4-BE49-F238E27FC236}">
                        <a16:creationId xmlns:a16="http://schemas.microsoft.com/office/drawing/2014/main" id="{5D3D4BA2-A523-41E2-8910-97EC2384FE6A}"/>
                      </a:ext>
                    </a:extLst>
                  </p:cNvPr>
                  <p:cNvSpPr/>
                  <p:nvPr/>
                </p:nvSpPr>
                <p:spPr>
                  <a:xfrm rot="5400000">
                    <a:off x="436517" y="2045278"/>
                    <a:ext cx="2560320" cy="2194561"/>
                  </a:xfrm>
                  <a:custGeom>
                    <a:avLst/>
                    <a:gdLst>
                      <a:gd name="connsiteX0" fmla="*/ 1 w 2743201"/>
                      <a:gd name="connsiteY0" fmla="*/ 1097280 h 2194562"/>
                      <a:gd name="connsiteX1" fmla="*/ 548641 w 2743201"/>
                      <a:gd name="connsiteY1" fmla="*/ 0 h 2194562"/>
                      <a:gd name="connsiteX2" fmla="*/ 2194561 w 2743201"/>
                      <a:gd name="connsiteY2" fmla="*/ 0 h 2194562"/>
                      <a:gd name="connsiteX3" fmla="*/ 2743201 w 2743201"/>
                      <a:gd name="connsiteY3" fmla="*/ 1097280 h 2194562"/>
                      <a:gd name="connsiteX4" fmla="*/ 0 w 2743201"/>
                      <a:gd name="connsiteY4" fmla="*/ 1097282 h 2194562"/>
                      <a:gd name="connsiteX5" fmla="*/ 2743200 w 2743201"/>
                      <a:gd name="connsiteY5" fmla="*/ 1097282 h 2194562"/>
                      <a:gd name="connsiteX6" fmla="*/ 2194560 w 2743201"/>
                      <a:gd name="connsiteY6" fmla="*/ 2194562 h 2194562"/>
                      <a:gd name="connsiteX7" fmla="*/ 548640 w 2743201"/>
                      <a:gd name="connsiteY7" fmla="*/ 2194562 h 2194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43201" h="2194562">
                        <a:moveTo>
                          <a:pt x="1" y="1097280"/>
                        </a:moveTo>
                        <a:lnTo>
                          <a:pt x="548641" y="0"/>
                        </a:lnTo>
                        <a:lnTo>
                          <a:pt x="2194561" y="0"/>
                        </a:lnTo>
                        <a:lnTo>
                          <a:pt x="2743201" y="1097280"/>
                        </a:lnTo>
                        <a:close/>
                        <a:moveTo>
                          <a:pt x="0" y="1097282"/>
                        </a:moveTo>
                        <a:lnTo>
                          <a:pt x="2743200" y="1097282"/>
                        </a:lnTo>
                        <a:lnTo>
                          <a:pt x="2194560" y="2194562"/>
                        </a:lnTo>
                        <a:lnTo>
                          <a:pt x="548640" y="2194562"/>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US" sz="2200">
                      <a:solidFill>
                        <a:srgbClr val="F3F3F3"/>
                      </a:solidFill>
                      <a:latin typeface="Century Gothic" panose="020B0502020202020204" pitchFamily="34" charset="0"/>
                    </a:endParaRPr>
                  </a:p>
                </p:txBody>
              </p:sp>
            </p:grpSp>
          </p:grpSp>
          <p:pic>
            <p:nvPicPr>
              <p:cNvPr id="128" name="Picture 6" descr="http://realfall2011.dctc.edu/wp-content/uploads/2011/11/cap-diploma-money.jpg">
                <a:hlinkClick r:id="rId5"/>
                <a:extLst>
                  <a:ext uri="{FF2B5EF4-FFF2-40B4-BE49-F238E27FC236}">
                    <a16:creationId xmlns:a16="http://schemas.microsoft.com/office/drawing/2014/main" id="{C6E62A30-F884-49B8-BFD6-8443E5FF3B2E}"/>
                  </a:ext>
                </a:extLst>
              </p:cNvPr>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626961" y="2854465"/>
                <a:ext cx="2020817" cy="1352949"/>
              </a:xfrm>
              <a:prstGeom prst="rect">
                <a:avLst/>
              </a:prstGeom>
              <a:noFill/>
              <a:extLst>
                <a:ext uri="{909E8E84-426E-40DD-AFC4-6F175D3DCCD1}">
                  <a14:hiddenFill xmlns:a14="http://schemas.microsoft.com/office/drawing/2010/main">
                    <a:solidFill>
                      <a:srgbClr val="FFFFFF"/>
                    </a:solidFill>
                  </a14:hiddenFill>
                </a:ext>
              </a:extLst>
            </p:spPr>
          </p:pic>
        </p:grpSp>
      </p:grpSp>
      <p:pic>
        <p:nvPicPr>
          <p:cNvPr id="113" name="Picture 112">
            <a:extLst>
              <a:ext uri="{FF2B5EF4-FFF2-40B4-BE49-F238E27FC236}">
                <a16:creationId xmlns:a16="http://schemas.microsoft.com/office/drawing/2014/main" id="{AE2229C4-30E1-4142-A86A-99CFB16FD693}"/>
              </a:ext>
            </a:extLst>
          </p:cNvPr>
          <p:cNvPicPr>
            <a:picLocks noChangeAspect="1"/>
          </p:cNvPicPr>
          <p:nvPr/>
        </p:nvPicPr>
        <p:blipFill>
          <a:blip r:embed="rId7" cstate="print">
            <a:biLevel thresh="25000"/>
            <a:extLst>
              <a:ext uri="{28A0092B-C50C-407E-A947-70E740481C1C}">
                <a14:useLocalDpi xmlns:a14="http://schemas.microsoft.com/office/drawing/2010/main" val="0"/>
              </a:ext>
            </a:extLst>
          </a:blip>
          <a:stretch>
            <a:fillRect/>
          </a:stretch>
        </p:blipFill>
        <p:spPr>
          <a:xfrm>
            <a:off x="11121676" y="121460"/>
            <a:ext cx="941015" cy="561258"/>
          </a:xfrm>
          <a:prstGeom prst="rect">
            <a:avLst/>
          </a:prstGeom>
        </p:spPr>
      </p:pic>
      <p:sp>
        <p:nvSpPr>
          <p:cNvPr id="115" name="Rectangle 114">
            <a:extLst>
              <a:ext uri="{FF2B5EF4-FFF2-40B4-BE49-F238E27FC236}">
                <a16:creationId xmlns:a16="http://schemas.microsoft.com/office/drawing/2014/main" id="{5834A644-E134-90ED-4E3F-470833F056A6}"/>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116" name="TextBox 115">
            <a:extLst>
              <a:ext uri="{FF2B5EF4-FFF2-40B4-BE49-F238E27FC236}">
                <a16:creationId xmlns:a16="http://schemas.microsoft.com/office/drawing/2014/main" id="{7C8B1976-5303-5A46-EC8A-5EB17762D335}"/>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GreenPath Services</a:t>
            </a:r>
          </a:p>
        </p:txBody>
      </p:sp>
    </p:spTree>
    <p:custDataLst>
      <p:tags r:id="rId1"/>
    </p:custDataLst>
    <p:extLst>
      <p:ext uri="{BB962C8B-B14F-4D97-AF65-F5344CB8AC3E}">
        <p14:creationId xmlns:p14="http://schemas.microsoft.com/office/powerpoint/2010/main" val="42282103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34736B51-6002-3734-98CA-A356B7907A11}"/>
              </a:ext>
            </a:extLst>
          </p:cNvPr>
          <p:cNvSpPr txBox="1"/>
          <p:nvPr/>
        </p:nvSpPr>
        <p:spPr>
          <a:xfrm>
            <a:off x="499314" y="2459504"/>
            <a:ext cx="4639614" cy="1938992"/>
          </a:xfrm>
          <a:prstGeom prst="rect">
            <a:avLst/>
          </a:prstGeom>
          <a:noFill/>
        </p:spPr>
        <p:txBody>
          <a:bodyPr wrap="square" rtlCol="0">
            <a:spAutoFit/>
          </a:bodyPr>
          <a:lstStyle/>
          <a:p>
            <a:pPr algn="ctr"/>
            <a:r>
              <a:rPr lang="en-US" sz="6000" b="1" dirty="0">
                <a:solidFill>
                  <a:srgbClr val="92D050"/>
                </a:solidFill>
                <a:effectLst>
                  <a:outerShdw blurRad="38100" dist="38100" dir="2700000" algn="tl">
                    <a:srgbClr val="FFFFFF">
                      <a:alpha val="43000"/>
                    </a:srgbClr>
                  </a:outerShdw>
                </a:effectLst>
                <a:latin typeface="Century Gothic" panose="020B0502020202020204" pitchFamily="34" charset="0"/>
              </a:rPr>
              <a:t>MANAGING CREDIT</a:t>
            </a:r>
          </a:p>
        </p:txBody>
      </p:sp>
      <p:pic>
        <p:nvPicPr>
          <p:cNvPr id="3" name="Picture 2" descr="Logo&#10;&#10;Description automatically generated with low confidence">
            <a:extLst>
              <a:ext uri="{FF2B5EF4-FFF2-40B4-BE49-F238E27FC236}">
                <a16:creationId xmlns:a16="http://schemas.microsoft.com/office/drawing/2014/main" id="{90B2BD30-D9CC-CDD9-5F69-421DF99662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9314" y="4676742"/>
            <a:ext cx="3635145" cy="1817573"/>
          </a:xfrm>
          <a:prstGeom prst="rect">
            <a:avLst/>
          </a:prstGeom>
        </p:spPr>
      </p:pic>
      <p:pic>
        <p:nvPicPr>
          <p:cNvPr id="6" name="Picture 5" descr="A picture containing text, clipart&#10;&#10;Description automatically generated">
            <a:extLst>
              <a:ext uri="{FF2B5EF4-FFF2-40B4-BE49-F238E27FC236}">
                <a16:creationId xmlns:a16="http://schemas.microsoft.com/office/drawing/2014/main" id="{83289FBF-052D-5021-D6F0-5DCB853C3B0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9314" y="732406"/>
            <a:ext cx="3401568" cy="643205"/>
          </a:xfrm>
          <a:prstGeom prst="rect">
            <a:avLst/>
          </a:prstGeom>
        </p:spPr>
      </p:pic>
      <p:pic>
        <p:nvPicPr>
          <p:cNvPr id="2" name="Picture 1">
            <a:extLst>
              <a:ext uri="{FF2B5EF4-FFF2-40B4-BE49-F238E27FC236}">
                <a16:creationId xmlns:a16="http://schemas.microsoft.com/office/drawing/2014/main" id="{DE0E1F3E-8404-5077-BBFF-76F32AE8B554}"/>
              </a:ext>
            </a:extLst>
          </p:cNvPr>
          <p:cNvPicPr>
            <a:picLocks noChangeAspect="1"/>
          </p:cNvPicPr>
          <p:nvPr/>
        </p:nvPicPr>
        <p:blipFill rotWithShape="1">
          <a:blip r:embed="rId5"/>
          <a:srcRect l="18525" t="1425" r="23905" b="1425"/>
          <a:stretch/>
        </p:blipFill>
        <p:spPr>
          <a:xfrm>
            <a:off x="6096000" y="0"/>
            <a:ext cx="6096000" cy="6858000"/>
          </a:xfrm>
          <a:prstGeom prst="rect">
            <a:avLst/>
          </a:prstGeom>
        </p:spPr>
      </p:pic>
    </p:spTree>
    <p:extLst>
      <p:ext uri="{BB962C8B-B14F-4D97-AF65-F5344CB8AC3E}">
        <p14:creationId xmlns:p14="http://schemas.microsoft.com/office/powerpoint/2010/main" val="399103642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3" name="Picture 112">
            <a:extLst>
              <a:ext uri="{FF2B5EF4-FFF2-40B4-BE49-F238E27FC236}">
                <a16:creationId xmlns:a16="http://schemas.microsoft.com/office/drawing/2014/main" id="{AE2229C4-30E1-4142-A86A-99CFB16FD693}"/>
              </a:ext>
            </a:extLst>
          </p:cNvPr>
          <p:cNvPicPr>
            <a:picLocks noChangeAspect="1"/>
          </p:cNvPicPr>
          <p:nvPr/>
        </p:nvPicPr>
        <p:blipFill>
          <a:blip r:embed="rId4" cstate="print">
            <a:biLevel thresh="25000"/>
            <a:extLst>
              <a:ext uri="{28A0092B-C50C-407E-A947-70E740481C1C}">
                <a14:useLocalDpi xmlns:a14="http://schemas.microsoft.com/office/drawing/2010/main" val="0"/>
              </a:ext>
            </a:extLst>
          </a:blip>
          <a:stretch>
            <a:fillRect/>
          </a:stretch>
        </p:blipFill>
        <p:spPr>
          <a:xfrm>
            <a:off x="11121676" y="121460"/>
            <a:ext cx="941015" cy="561258"/>
          </a:xfrm>
          <a:prstGeom prst="rect">
            <a:avLst/>
          </a:prstGeom>
        </p:spPr>
      </p:pic>
      <p:sp>
        <p:nvSpPr>
          <p:cNvPr id="115" name="Rectangle 114">
            <a:extLst>
              <a:ext uri="{FF2B5EF4-FFF2-40B4-BE49-F238E27FC236}">
                <a16:creationId xmlns:a16="http://schemas.microsoft.com/office/drawing/2014/main" id="{5834A644-E134-90ED-4E3F-470833F056A6}"/>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116" name="TextBox 115">
            <a:extLst>
              <a:ext uri="{FF2B5EF4-FFF2-40B4-BE49-F238E27FC236}">
                <a16:creationId xmlns:a16="http://schemas.microsoft.com/office/drawing/2014/main" id="{7C8B1976-5303-5A46-EC8A-5EB17762D335}"/>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GreenPath Services</a:t>
            </a:r>
          </a:p>
        </p:txBody>
      </p:sp>
      <p:pic>
        <p:nvPicPr>
          <p:cNvPr id="5" name="Picture 4">
            <a:extLst>
              <a:ext uri="{FF2B5EF4-FFF2-40B4-BE49-F238E27FC236}">
                <a16:creationId xmlns:a16="http://schemas.microsoft.com/office/drawing/2014/main" id="{FE50ED82-8CB0-14D1-74AB-7B0C6A08F88C}"/>
              </a:ext>
            </a:extLst>
          </p:cNvPr>
          <p:cNvPicPr>
            <a:picLocks noChangeAspect="1"/>
          </p:cNvPicPr>
          <p:nvPr/>
        </p:nvPicPr>
        <p:blipFill rotWithShape="1">
          <a:blip r:embed="rId5"/>
          <a:srcRect l="1984" t="21786" b="-2"/>
          <a:stretch/>
        </p:blipFill>
        <p:spPr>
          <a:xfrm>
            <a:off x="1930575" y="1719072"/>
            <a:ext cx="8330850" cy="4567428"/>
          </a:xfrm>
          <a:prstGeom prst="rect">
            <a:avLst/>
          </a:prstGeom>
          <a:ln>
            <a:solidFill>
              <a:srgbClr val="FFFFFF"/>
            </a:solidFill>
          </a:ln>
        </p:spPr>
      </p:pic>
    </p:spTree>
    <p:custDataLst>
      <p:tags r:id="rId1"/>
    </p:custDataLst>
    <p:extLst>
      <p:ext uri="{BB962C8B-B14F-4D97-AF65-F5344CB8AC3E}">
        <p14:creationId xmlns:p14="http://schemas.microsoft.com/office/powerpoint/2010/main" val="21111489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DA80EC9-F216-03A7-E22E-3ABAD9CD4FDB}"/>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11" name="TextBox 10">
            <a:extLst>
              <a:ext uri="{FF2B5EF4-FFF2-40B4-BE49-F238E27FC236}">
                <a16:creationId xmlns:a16="http://schemas.microsoft.com/office/drawing/2014/main" id="{98FACA51-A64C-DDC7-C9E8-BE2DBFE8398A}"/>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Connect with GreenPath</a:t>
            </a:r>
          </a:p>
        </p:txBody>
      </p:sp>
      <p:sp>
        <p:nvSpPr>
          <p:cNvPr id="12" name="TextBox 11">
            <a:extLst>
              <a:ext uri="{FF2B5EF4-FFF2-40B4-BE49-F238E27FC236}">
                <a16:creationId xmlns:a16="http://schemas.microsoft.com/office/drawing/2014/main" id="{F8CA4D02-815B-60FD-723A-9DD243EB990E}"/>
              </a:ext>
            </a:extLst>
          </p:cNvPr>
          <p:cNvSpPr txBox="1"/>
          <p:nvPr/>
        </p:nvSpPr>
        <p:spPr>
          <a:xfrm>
            <a:off x="3048000" y="1823357"/>
            <a:ext cx="8153400" cy="3108543"/>
          </a:xfrm>
          <a:prstGeom prst="rect">
            <a:avLst/>
          </a:prstGeom>
          <a:noFill/>
        </p:spPr>
        <p:txBody>
          <a:bodyPr wrap="square" rtlCol="0">
            <a:spAutoFit/>
          </a:bodyPr>
          <a:lstStyle/>
          <a:p>
            <a:pPr marL="285750" indent="-285750">
              <a:buFont typeface="Arial" panose="020B0604020202020204" pitchFamily="34" charset="0"/>
              <a:buChar char="•"/>
            </a:pPr>
            <a:r>
              <a:rPr lang="en-US" sz="2800" b="1" dirty="0">
                <a:solidFill>
                  <a:srgbClr val="FFFFFF"/>
                </a:solidFill>
                <a:latin typeface="Century Gothic" panose="020B0502020202020204" pitchFamily="34" charset="0"/>
              </a:rPr>
              <a:t>GIVE US A CALL:</a:t>
            </a:r>
            <a:endParaRPr lang="en-US" b="1" dirty="0">
              <a:solidFill>
                <a:srgbClr val="FFFFFF"/>
              </a:solidFill>
              <a:latin typeface="Century Gothic" panose="020B0502020202020204" pitchFamily="34" charset="0"/>
            </a:endParaRPr>
          </a:p>
          <a:p>
            <a:pPr lvl="1"/>
            <a:r>
              <a:rPr lang="en-US" sz="2800" b="1" dirty="0">
                <a:solidFill>
                  <a:srgbClr val="88C240"/>
                </a:solidFill>
                <a:latin typeface="Century Gothic" panose="020B0502020202020204" pitchFamily="34" charset="0"/>
              </a:rPr>
              <a:t>877-337-3399</a:t>
            </a:r>
          </a:p>
          <a:p>
            <a:pPr lvl="1"/>
            <a:r>
              <a:rPr lang="en-US" sz="2800" i="1" dirty="0">
                <a:solidFill>
                  <a:srgbClr val="FFFFFF"/>
                </a:solidFill>
                <a:latin typeface="Century Gothic" panose="020B0502020202020204" pitchFamily="34" charset="0"/>
              </a:rPr>
              <a:t>Let us know you were referred by Harvard University Employees Credit Union!</a:t>
            </a:r>
          </a:p>
          <a:p>
            <a:pPr marL="742950" lvl="1" indent="-285750">
              <a:buFont typeface="Arial" panose="020B0604020202020204" pitchFamily="34" charset="0"/>
              <a:buChar char="•"/>
            </a:pPr>
            <a:endParaRPr lang="en-US" sz="2800" dirty="0">
              <a:solidFill>
                <a:srgbClr val="FFFFFF"/>
              </a:solidFill>
              <a:latin typeface="Century Gothic" panose="020B0502020202020204" pitchFamily="34" charset="0"/>
            </a:endParaRPr>
          </a:p>
          <a:p>
            <a:pPr marL="285750" indent="-285750">
              <a:buFont typeface="Arial" panose="020B0604020202020204" pitchFamily="34" charset="0"/>
              <a:buChar char="•"/>
            </a:pPr>
            <a:r>
              <a:rPr lang="en-US" sz="2800" b="1" dirty="0">
                <a:solidFill>
                  <a:srgbClr val="FFFFFF"/>
                </a:solidFill>
                <a:latin typeface="Century Gothic" panose="020B0502020202020204" pitchFamily="34" charset="0"/>
              </a:rPr>
              <a:t>VISIT OUR WEBSITE:</a:t>
            </a:r>
          </a:p>
          <a:p>
            <a:pPr lvl="1"/>
            <a:r>
              <a:rPr lang="en-US" sz="2800" b="1" u="sng" dirty="0">
                <a:solidFill>
                  <a:srgbClr val="92D050"/>
                </a:solidFill>
                <a:latin typeface="Century Gothic" panose="020B0502020202020204" pitchFamily="34" charset="0"/>
                <a:hlinkClick r:id="rId4">
                  <a:extLst>
                    <a:ext uri="{A12FA001-AC4F-418D-AE19-62706E023703}">
                      <ahyp:hlinkClr xmlns="" xmlns:ahyp="http://schemas.microsoft.com/office/drawing/2018/hyperlinkcolor" val="tx"/>
                    </a:ext>
                  </a:extLst>
                </a:hlinkClick>
              </a:rPr>
              <a:t>GreenPath.com/partner/HUECU</a:t>
            </a:r>
            <a:endParaRPr lang="en-US" sz="2800" b="1" u="sng" dirty="0">
              <a:solidFill>
                <a:srgbClr val="92D050"/>
              </a:solidFill>
              <a:latin typeface="Century Gothic" panose="020B0502020202020204" pitchFamily="34" charset="0"/>
            </a:endParaRPr>
          </a:p>
        </p:txBody>
      </p:sp>
    </p:spTree>
    <p:custDataLst>
      <p:tags r:id="rId1"/>
    </p:custDataLst>
    <p:extLst>
      <p:ext uri="{BB962C8B-B14F-4D97-AF65-F5344CB8AC3E}">
        <p14:creationId xmlns:p14="http://schemas.microsoft.com/office/powerpoint/2010/main" val="419965962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5642882"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Live Q &amp; A</a:t>
            </a:r>
          </a:p>
        </p:txBody>
      </p:sp>
    </p:spTree>
    <p:extLst>
      <p:ext uri="{BB962C8B-B14F-4D97-AF65-F5344CB8AC3E}">
        <p14:creationId xmlns:p14="http://schemas.microsoft.com/office/powerpoint/2010/main" val="272499860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descr="A snowy mountain with trees and clouds&#10;&#10;Description automatically generated">
            <a:extLst>
              <a:ext uri="{FF2B5EF4-FFF2-40B4-BE49-F238E27FC236}">
                <a16:creationId xmlns:a16="http://schemas.microsoft.com/office/drawing/2014/main" id="{AFE523D6-7841-47EC-B6FC-983BC4547140}"/>
              </a:ext>
            </a:extLst>
          </p:cNvPr>
          <p:cNvPicPr>
            <a:picLocks noGrp="1" noChangeAspect="1"/>
          </p:cNvPicPr>
          <p:nvPr>
            <p:ph type="pic" sz="quarter" idx="10"/>
          </p:nvPr>
        </p:nvPicPr>
        <p:blipFill rotWithShape="1">
          <a:blip r:embed="rId2"/>
          <a:srcRect l="1274" r="1274"/>
          <a:stretch/>
        </p:blipFill>
        <p:spPr>
          <a:xfrm>
            <a:off x="-1750292" y="-1030962"/>
            <a:ext cx="17262740" cy="10953526"/>
          </a:xfrm>
          <a:prstGeom prst="rect">
            <a:avLst/>
          </a:prstGeom>
        </p:spPr>
      </p:pic>
      <p:sp>
        <p:nvSpPr>
          <p:cNvPr id="2" name="Rectangle 1">
            <a:extLst>
              <a:ext uri="{FF2B5EF4-FFF2-40B4-BE49-F238E27FC236}">
                <a16:creationId xmlns:a16="http://schemas.microsoft.com/office/drawing/2014/main" id="{AD962A01-6AE2-3E94-261B-E45131309078}"/>
              </a:ext>
            </a:extLst>
          </p:cNvPr>
          <p:cNvSpPr/>
          <p:nvPr/>
        </p:nvSpPr>
        <p:spPr>
          <a:xfrm>
            <a:off x="-2307066" y="-1755919"/>
            <a:ext cx="19604296" cy="12403440"/>
          </a:xfrm>
          <a:prstGeom prst="rect">
            <a:avLst/>
          </a:prstGeom>
          <a:solidFill>
            <a:srgbClr val="000000">
              <a:alpha val="14902"/>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Light"/>
              <a:ea typeface="+mn-ea"/>
              <a:cs typeface="+mn-cs"/>
            </a:endParaRPr>
          </a:p>
        </p:txBody>
      </p:sp>
      <p:sp>
        <p:nvSpPr>
          <p:cNvPr id="8" name="Subtitle 4">
            <a:extLst>
              <a:ext uri="{FF2B5EF4-FFF2-40B4-BE49-F238E27FC236}">
                <a16:creationId xmlns:a16="http://schemas.microsoft.com/office/drawing/2014/main" id="{4629126B-8A12-F046-8967-3BB074B17A21}"/>
              </a:ext>
            </a:extLst>
          </p:cNvPr>
          <p:cNvSpPr txBox="1">
            <a:spLocks/>
          </p:cNvSpPr>
          <p:nvPr/>
        </p:nvSpPr>
        <p:spPr>
          <a:xfrm>
            <a:off x="-1645517" y="2556117"/>
            <a:ext cx="15268575" cy="1076375"/>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2000" b="0" i="0" kern="120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457189" indent="0" algn="ctr" defTabSz="914400" rtl="0" eaLnBrk="1" latinLnBrk="0" hangingPunct="1">
              <a:lnSpc>
                <a:spcPct val="90000"/>
              </a:lnSpc>
              <a:spcBef>
                <a:spcPts val="500"/>
              </a:spcBef>
              <a:buFont typeface="Arial" panose="020B0604020202020204" pitchFamily="34" charset="0"/>
              <a:buNone/>
              <a:defRPr sz="2000" kern="1200">
                <a:solidFill>
                  <a:schemeClr val="tx1">
                    <a:lumMod val="75000"/>
                    <a:lumOff val="25000"/>
                  </a:schemeClr>
                </a:solidFill>
                <a:latin typeface="+mn-lt"/>
                <a:ea typeface="+mn-ea"/>
                <a:cs typeface="+mn-cs"/>
              </a:defRPr>
            </a:lvl2pPr>
            <a:lvl3pPr marL="914377" indent="0" algn="ctr" defTabSz="914400" rtl="0" eaLnBrk="1" latinLnBrk="0" hangingPunct="1">
              <a:lnSpc>
                <a:spcPct val="90000"/>
              </a:lnSpc>
              <a:spcBef>
                <a:spcPts val="500"/>
              </a:spcBef>
              <a:buFont typeface="Arial" panose="020B0604020202020204" pitchFamily="34" charset="0"/>
              <a:buNone/>
              <a:defRPr sz="1800" kern="1200">
                <a:solidFill>
                  <a:schemeClr val="tx1">
                    <a:lumMod val="75000"/>
                    <a:lumOff val="25000"/>
                  </a:schemeClr>
                </a:solidFill>
                <a:latin typeface="+mn-lt"/>
                <a:ea typeface="+mn-ea"/>
                <a:cs typeface="+mn-cs"/>
              </a:defRPr>
            </a:lvl3pPr>
            <a:lvl4pPr marL="1371566" indent="0" algn="ctr"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4pPr>
            <a:lvl5pPr marL="1828754" indent="0" algn="ctr"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5pPr>
            <a:lvl6pPr marL="2285943"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131"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32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509"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6000" b="0" i="0" u="none" strike="noStrike" kern="1200" cap="none" spc="0" normalizeH="0" baseline="0" noProof="0" dirty="0">
                <a:ln>
                  <a:noFill/>
                </a:ln>
                <a:solidFill>
                  <a:srgbClr val="C2E4E8"/>
                </a:solidFill>
                <a:effectLst/>
                <a:uLnTx/>
                <a:uFillTx/>
                <a:latin typeface="Klinic Slab Bold"/>
                <a:ea typeface="Open Sans"/>
                <a:cs typeface="Open Sans"/>
              </a:rPr>
              <a:t>More Questions?</a:t>
            </a:r>
          </a:p>
        </p:txBody>
      </p:sp>
    </p:spTree>
    <p:extLst>
      <p:ext uri="{BB962C8B-B14F-4D97-AF65-F5344CB8AC3E}">
        <p14:creationId xmlns:p14="http://schemas.microsoft.com/office/powerpoint/2010/main" val="9226569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descr="A snowy mountain with trees and clouds&#10;&#10;Description automatically generated">
            <a:extLst>
              <a:ext uri="{FF2B5EF4-FFF2-40B4-BE49-F238E27FC236}">
                <a16:creationId xmlns:a16="http://schemas.microsoft.com/office/drawing/2014/main" id="{AFE523D6-7841-47EC-B6FC-983BC4547140}"/>
              </a:ext>
            </a:extLst>
          </p:cNvPr>
          <p:cNvPicPr>
            <a:picLocks noGrp="1" noChangeAspect="1"/>
          </p:cNvPicPr>
          <p:nvPr>
            <p:ph type="pic" sz="quarter" idx="10"/>
          </p:nvPr>
        </p:nvPicPr>
        <p:blipFill rotWithShape="1">
          <a:blip r:embed="rId2"/>
          <a:srcRect l="1274" r="1274"/>
          <a:stretch/>
        </p:blipFill>
        <p:spPr>
          <a:xfrm>
            <a:off x="-1750292" y="-1030962"/>
            <a:ext cx="17262740" cy="10953526"/>
          </a:xfrm>
          <a:prstGeom prst="rect">
            <a:avLst/>
          </a:prstGeom>
        </p:spPr>
      </p:pic>
      <p:sp>
        <p:nvSpPr>
          <p:cNvPr id="2" name="Rectangle 1">
            <a:extLst>
              <a:ext uri="{FF2B5EF4-FFF2-40B4-BE49-F238E27FC236}">
                <a16:creationId xmlns:a16="http://schemas.microsoft.com/office/drawing/2014/main" id="{AD962A01-6AE2-3E94-261B-E45131309078}"/>
              </a:ext>
            </a:extLst>
          </p:cNvPr>
          <p:cNvSpPr/>
          <p:nvPr/>
        </p:nvSpPr>
        <p:spPr>
          <a:xfrm>
            <a:off x="-2392791" y="-1805963"/>
            <a:ext cx="19604296" cy="12403440"/>
          </a:xfrm>
          <a:prstGeom prst="rect">
            <a:avLst/>
          </a:prstGeom>
          <a:solidFill>
            <a:srgbClr val="000000">
              <a:alpha val="14902"/>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Light"/>
              <a:ea typeface="+mn-ea"/>
              <a:cs typeface="+mn-cs"/>
            </a:endParaRPr>
          </a:p>
        </p:txBody>
      </p:sp>
      <p:sp>
        <p:nvSpPr>
          <p:cNvPr id="8" name="Subtitle 4">
            <a:extLst>
              <a:ext uri="{FF2B5EF4-FFF2-40B4-BE49-F238E27FC236}">
                <a16:creationId xmlns:a16="http://schemas.microsoft.com/office/drawing/2014/main" id="{4629126B-8A12-F046-8967-3BB074B17A21}"/>
              </a:ext>
            </a:extLst>
          </p:cNvPr>
          <p:cNvSpPr txBox="1">
            <a:spLocks/>
          </p:cNvSpPr>
          <p:nvPr/>
        </p:nvSpPr>
        <p:spPr>
          <a:xfrm>
            <a:off x="-1911505" y="3359901"/>
            <a:ext cx="15831712" cy="1076375"/>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Font typeface="Arial" panose="020B0604020202020204" pitchFamily="34" charset="0"/>
              <a:buNone/>
              <a:defRPr sz="2000" b="0" i="0" kern="120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457189" indent="0" algn="ctr" defTabSz="914400" rtl="0" eaLnBrk="1" latinLnBrk="0" hangingPunct="1">
              <a:lnSpc>
                <a:spcPct val="90000"/>
              </a:lnSpc>
              <a:spcBef>
                <a:spcPts val="500"/>
              </a:spcBef>
              <a:buFont typeface="Arial" panose="020B0604020202020204" pitchFamily="34" charset="0"/>
              <a:buNone/>
              <a:defRPr sz="2000" kern="1200">
                <a:solidFill>
                  <a:schemeClr val="tx1">
                    <a:lumMod val="75000"/>
                    <a:lumOff val="25000"/>
                  </a:schemeClr>
                </a:solidFill>
                <a:latin typeface="+mn-lt"/>
                <a:ea typeface="+mn-ea"/>
                <a:cs typeface="+mn-cs"/>
              </a:defRPr>
            </a:lvl2pPr>
            <a:lvl3pPr marL="914377" indent="0" algn="ctr" defTabSz="914400" rtl="0" eaLnBrk="1" latinLnBrk="0" hangingPunct="1">
              <a:lnSpc>
                <a:spcPct val="90000"/>
              </a:lnSpc>
              <a:spcBef>
                <a:spcPts val="500"/>
              </a:spcBef>
              <a:buFont typeface="Arial" panose="020B0604020202020204" pitchFamily="34" charset="0"/>
              <a:buNone/>
              <a:defRPr sz="1800" kern="1200">
                <a:solidFill>
                  <a:schemeClr val="tx1">
                    <a:lumMod val="75000"/>
                    <a:lumOff val="25000"/>
                  </a:schemeClr>
                </a:solidFill>
                <a:latin typeface="+mn-lt"/>
                <a:ea typeface="+mn-ea"/>
                <a:cs typeface="+mn-cs"/>
              </a:defRPr>
            </a:lvl3pPr>
            <a:lvl4pPr marL="1371566" indent="0" algn="ctr"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4pPr>
            <a:lvl5pPr marL="1828754" indent="0" algn="ctr"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5pPr>
            <a:lvl6pPr marL="2285943"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131"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32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509"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4800" b="0" i="1" u="none" strike="noStrike" kern="1200" cap="none" spc="0" normalizeH="0" baseline="0" noProof="0" dirty="0">
                <a:ln>
                  <a:noFill/>
                </a:ln>
                <a:solidFill>
                  <a:prstClr val="white"/>
                </a:solidFill>
                <a:effectLst/>
                <a:uLnTx/>
                <a:uFillTx/>
                <a:latin typeface="Klinic Slab Medium" pitchFamily="50" charset="0"/>
                <a:ea typeface="Open Sans" panose="020B0606030504020204" pitchFamily="34" charset="0"/>
                <a:cs typeface="Open Sans" panose="020B0606030504020204" pitchFamily="34" charset="0"/>
              </a:rPr>
              <a:t>Thank you!</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73107" y="1199738"/>
            <a:ext cx="2684595" cy="542953"/>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98455" y="807075"/>
            <a:ext cx="1441596" cy="935616"/>
          </a:xfrm>
          <a:prstGeom prst="rect">
            <a:avLst/>
          </a:prstGeom>
        </p:spPr>
      </p:pic>
      <p:sp>
        <p:nvSpPr>
          <p:cNvPr id="9" name="Subtitle 4">
            <a:extLst>
              <a:ext uri="{FF2B5EF4-FFF2-40B4-BE49-F238E27FC236}">
                <a16:creationId xmlns:a16="http://schemas.microsoft.com/office/drawing/2014/main" id="{4629126B-8A12-F046-8967-3BB074B17A21}"/>
              </a:ext>
            </a:extLst>
          </p:cNvPr>
          <p:cNvSpPr txBox="1">
            <a:spLocks/>
          </p:cNvSpPr>
          <p:nvPr/>
        </p:nvSpPr>
        <p:spPr>
          <a:xfrm>
            <a:off x="915252" y="1999840"/>
            <a:ext cx="10178198" cy="861134"/>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Font typeface="Arial" panose="020B0604020202020204" pitchFamily="34" charset="0"/>
              <a:buNone/>
              <a:defRPr sz="2000" b="0" i="0" kern="1200">
                <a:solidFill>
                  <a:schemeClr val="tx1">
                    <a:lumMod val="50000"/>
                    <a:lumOff val="50000"/>
                  </a:schemeClr>
                </a:solidFill>
                <a:latin typeface="Klinic Slab Book" pitchFamily="50" charset="0"/>
                <a:ea typeface="Open Sans" panose="020B0606030504020204" pitchFamily="34" charset="0"/>
                <a:cs typeface="Open Sans" panose="020B0606030504020204" pitchFamily="34" charset="0"/>
              </a:defRPr>
            </a:lvl1pPr>
            <a:lvl2pPr marL="457189" indent="0" algn="ctr" defTabSz="914400" rtl="0" eaLnBrk="1" latinLnBrk="0" hangingPunct="1">
              <a:lnSpc>
                <a:spcPct val="90000"/>
              </a:lnSpc>
              <a:spcBef>
                <a:spcPts val="500"/>
              </a:spcBef>
              <a:buFont typeface="Arial" panose="020B0604020202020204" pitchFamily="34" charset="0"/>
              <a:buNone/>
              <a:defRPr sz="2000" kern="1200">
                <a:solidFill>
                  <a:schemeClr val="tx1">
                    <a:lumMod val="75000"/>
                    <a:lumOff val="25000"/>
                  </a:schemeClr>
                </a:solidFill>
                <a:latin typeface="+mn-lt"/>
                <a:ea typeface="+mn-ea"/>
                <a:cs typeface="+mn-cs"/>
              </a:defRPr>
            </a:lvl2pPr>
            <a:lvl3pPr marL="914377" indent="0" algn="ctr" defTabSz="914400" rtl="0" eaLnBrk="1" latinLnBrk="0" hangingPunct="1">
              <a:lnSpc>
                <a:spcPct val="90000"/>
              </a:lnSpc>
              <a:spcBef>
                <a:spcPts val="500"/>
              </a:spcBef>
              <a:buFont typeface="Arial" panose="020B0604020202020204" pitchFamily="34" charset="0"/>
              <a:buNone/>
              <a:defRPr sz="1800" kern="1200">
                <a:solidFill>
                  <a:schemeClr val="tx1">
                    <a:lumMod val="75000"/>
                    <a:lumOff val="25000"/>
                  </a:schemeClr>
                </a:solidFill>
                <a:latin typeface="+mn-lt"/>
                <a:ea typeface="+mn-ea"/>
                <a:cs typeface="+mn-cs"/>
              </a:defRPr>
            </a:lvl3pPr>
            <a:lvl4pPr marL="1371566" indent="0" algn="ctr"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4pPr>
            <a:lvl5pPr marL="1828754" indent="0" algn="ctr" defTabSz="914400" rtl="0" eaLnBrk="1" latinLnBrk="0" hangingPunct="1">
              <a:lnSpc>
                <a:spcPct val="90000"/>
              </a:lnSpc>
              <a:spcBef>
                <a:spcPts val="500"/>
              </a:spcBef>
              <a:buFont typeface="Arial" panose="020B0604020202020204" pitchFamily="34" charset="0"/>
              <a:buNone/>
              <a:defRPr sz="1600" kern="1200">
                <a:solidFill>
                  <a:schemeClr val="tx1">
                    <a:lumMod val="75000"/>
                    <a:lumOff val="25000"/>
                  </a:schemeClr>
                </a:solidFill>
                <a:latin typeface="+mn-lt"/>
                <a:ea typeface="+mn-ea"/>
                <a:cs typeface="+mn-cs"/>
              </a:defRPr>
            </a:lvl5pPr>
            <a:lvl6pPr marL="2285943"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131"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32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509"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6000" b="0" i="0" u="none" strike="noStrike" kern="1200" cap="none" spc="0" normalizeH="0" baseline="0" noProof="0" dirty="0">
                <a:ln>
                  <a:noFill/>
                </a:ln>
                <a:solidFill>
                  <a:srgbClr val="C2E4E8"/>
                </a:solidFill>
                <a:effectLst/>
                <a:uLnTx/>
                <a:uFillTx/>
                <a:latin typeface="Klinic Slab Bold" pitchFamily="50" charset="0"/>
                <a:ea typeface="Open Sans" panose="020B0606030504020204" pitchFamily="34" charset="0"/>
                <a:cs typeface="Open Sans" panose="020B0606030504020204" pitchFamily="34" charset="0"/>
              </a:rPr>
              <a:t>Wintersession 2024</a:t>
            </a:r>
          </a:p>
        </p:txBody>
      </p:sp>
      <p:cxnSp>
        <p:nvCxnSpPr>
          <p:cNvPr id="10" name="Straight Connector 9"/>
          <p:cNvCxnSpPr/>
          <p:nvPr/>
        </p:nvCxnSpPr>
        <p:spPr>
          <a:xfrm>
            <a:off x="2962184" y="3065664"/>
            <a:ext cx="6181816" cy="9250"/>
          </a:xfrm>
          <a:prstGeom prst="line">
            <a:avLst/>
          </a:prstGeom>
          <a:ln w="57150">
            <a:solidFill>
              <a:srgbClr val="C2E4E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082911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3CD34A52-11D1-4C30-8F44-C1FC0337CBD6}"/>
              </a:ext>
            </a:extLst>
          </p:cNvPr>
          <p:cNvGrpSpPr/>
          <p:nvPr/>
        </p:nvGrpSpPr>
        <p:grpSpPr>
          <a:xfrm>
            <a:off x="1054285" y="2259928"/>
            <a:ext cx="391381" cy="322931"/>
            <a:chOff x="1054285" y="2650729"/>
            <a:chExt cx="391381" cy="322931"/>
          </a:xfrm>
        </p:grpSpPr>
        <p:sp>
          <p:nvSpPr>
            <p:cNvPr id="37" name="Oval 36">
              <a:extLst>
                <a:ext uri="{FF2B5EF4-FFF2-40B4-BE49-F238E27FC236}">
                  <a16:creationId xmlns:a16="http://schemas.microsoft.com/office/drawing/2014/main" id="{6E393B42-7B2A-F14A-B37E-4FA372D6ACD1}"/>
                </a:ext>
              </a:extLst>
            </p:cNvPr>
            <p:cNvSpPr/>
            <p:nvPr/>
          </p:nvSpPr>
          <p:spPr>
            <a:xfrm>
              <a:off x="1054285" y="2650729"/>
              <a:ext cx="322931" cy="322931"/>
            </a:xfrm>
            <a:prstGeom prst="ellipse">
              <a:avLst/>
            </a:prstGeom>
            <a:solidFill>
              <a:srgbClr val="6C0008">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8" name="Graphic 27">
              <a:extLst>
                <a:ext uri="{FF2B5EF4-FFF2-40B4-BE49-F238E27FC236}">
                  <a16:creationId xmlns:a16="http://schemas.microsoft.com/office/drawing/2014/main" id="{A4B96F8A-CA81-5E4E-B06D-B0F71F1BED8F}"/>
                </a:ext>
              </a:extLst>
            </p:cNvPr>
            <p:cNvPicPr>
              <a:picLocks noChangeAspect="1"/>
            </p:cNvPicPr>
            <p:nvPr/>
          </p:nvPicPr>
          <p:blipFill>
            <a:blip r:embed="rId3">
              <a:extLst>
                <a:ext uri="{96DAC541-7B7A-43D3-8B79-37D633B846F1}">
                  <asvg:svgBlip xmlns="" xmlns:asvg="http://schemas.microsoft.com/office/drawing/2016/SVG/main" r:embed="rId4"/>
                </a:ext>
              </a:extLst>
            </a:blip>
            <a:stretch>
              <a:fillRect/>
            </a:stretch>
          </p:blipFill>
          <p:spPr>
            <a:xfrm>
              <a:off x="1139401" y="2652506"/>
              <a:ext cx="306265" cy="306265"/>
            </a:xfrm>
            <a:prstGeom prst="rect">
              <a:avLst/>
            </a:prstGeom>
          </p:spPr>
        </p:pic>
      </p:grpSp>
      <p:grpSp>
        <p:nvGrpSpPr>
          <p:cNvPr id="14" name="Group 13">
            <a:extLst>
              <a:ext uri="{FF2B5EF4-FFF2-40B4-BE49-F238E27FC236}">
                <a16:creationId xmlns:a16="http://schemas.microsoft.com/office/drawing/2014/main" id="{6BCBBDDF-D3D1-4881-B94F-63F3AB40360F}"/>
              </a:ext>
            </a:extLst>
          </p:cNvPr>
          <p:cNvGrpSpPr/>
          <p:nvPr/>
        </p:nvGrpSpPr>
        <p:grpSpPr>
          <a:xfrm>
            <a:off x="1071206" y="2955623"/>
            <a:ext cx="362428" cy="367835"/>
            <a:chOff x="1071206" y="3273744"/>
            <a:chExt cx="362428" cy="367835"/>
          </a:xfrm>
        </p:grpSpPr>
        <p:sp>
          <p:nvSpPr>
            <p:cNvPr id="38" name="Oval 37">
              <a:extLst>
                <a:ext uri="{FF2B5EF4-FFF2-40B4-BE49-F238E27FC236}">
                  <a16:creationId xmlns:a16="http://schemas.microsoft.com/office/drawing/2014/main" id="{3DA9B073-DBC9-AD46-AAB6-892AB1EE71CB}"/>
                </a:ext>
              </a:extLst>
            </p:cNvPr>
            <p:cNvSpPr/>
            <p:nvPr/>
          </p:nvSpPr>
          <p:spPr>
            <a:xfrm>
              <a:off x="1071206" y="3318648"/>
              <a:ext cx="322931" cy="322931"/>
            </a:xfrm>
            <a:prstGeom prst="ellipse">
              <a:avLst/>
            </a:prstGeom>
            <a:solidFill>
              <a:srgbClr val="6C0008">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0" name="Graphic 29">
              <a:extLst>
                <a:ext uri="{FF2B5EF4-FFF2-40B4-BE49-F238E27FC236}">
                  <a16:creationId xmlns:a16="http://schemas.microsoft.com/office/drawing/2014/main" id="{C5D866B0-AE39-CE41-B6C3-64DCEBB46615}"/>
                </a:ext>
              </a:extLst>
            </p:cNvPr>
            <p:cNvPicPr>
              <a:picLocks noChangeAspect="1"/>
            </p:cNvPicPr>
            <p:nvPr/>
          </p:nvPicPr>
          <p:blipFill>
            <a:blip r:embed="rId5">
              <a:extLst>
                <a:ext uri="{96DAC541-7B7A-43D3-8B79-37D633B846F1}">
                  <asvg:svgBlip xmlns="" xmlns:asvg="http://schemas.microsoft.com/office/drawing/2016/SVG/main" r:embed="rId6"/>
                </a:ext>
              </a:extLst>
            </a:blip>
            <a:stretch>
              <a:fillRect/>
            </a:stretch>
          </p:blipFill>
          <p:spPr>
            <a:xfrm>
              <a:off x="1127369" y="3273744"/>
              <a:ext cx="306265" cy="330837"/>
            </a:xfrm>
            <a:prstGeom prst="rect">
              <a:avLst/>
            </a:prstGeom>
          </p:spPr>
        </p:pic>
      </p:grpSp>
      <p:grpSp>
        <p:nvGrpSpPr>
          <p:cNvPr id="13" name="Group 12">
            <a:extLst>
              <a:ext uri="{FF2B5EF4-FFF2-40B4-BE49-F238E27FC236}">
                <a16:creationId xmlns:a16="http://schemas.microsoft.com/office/drawing/2014/main" id="{71CB7277-D723-4227-9E82-5E41895ECD2F}"/>
              </a:ext>
            </a:extLst>
          </p:cNvPr>
          <p:cNvGrpSpPr/>
          <p:nvPr/>
        </p:nvGrpSpPr>
        <p:grpSpPr>
          <a:xfrm>
            <a:off x="1072895" y="3696222"/>
            <a:ext cx="368006" cy="347356"/>
            <a:chOff x="1072895" y="3994270"/>
            <a:chExt cx="368006" cy="347356"/>
          </a:xfrm>
        </p:grpSpPr>
        <p:sp>
          <p:nvSpPr>
            <p:cNvPr id="39" name="Oval 38">
              <a:extLst>
                <a:ext uri="{FF2B5EF4-FFF2-40B4-BE49-F238E27FC236}">
                  <a16:creationId xmlns:a16="http://schemas.microsoft.com/office/drawing/2014/main" id="{F0CE443E-DE80-0445-8ABD-39C430DE0B6F}"/>
                </a:ext>
              </a:extLst>
            </p:cNvPr>
            <p:cNvSpPr/>
            <p:nvPr/>
          </p:nvSpPr>
          <p:spPr>
            <a:xfrm>
              <a:off x="1072895" y="4018695"/>
              <a:ext cx="322931" cy="322931"/>
            </a:xfrm>
            <a:prstGeom prst="ellipse">
              <a:avLst/>
            </a:prstGeom>
            <a:solidFill>
              <a:srgbClr val="6C0008">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2" name="Graphic 31">
              <a:extLst>
                <a:ext uri="{FF2B5EF4-FFF2-40B4-BE49-F238E27FC236}">
                  <a16:creationId xmlns:a16="http://schemas.microsoft.com/office/drawing/2014/main" id="{77C40E44-0FAA-6442-BB1F-8681BC857608}"/>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1134636" y="3994270"/>
              <a:ext cx="306265" cy="306265"/>
            </a:xfrm>
            <a:prstGeom prst="rect">
              <a:avLst/>
            </a:prstGeom>
          </p:spPr>
        </p:pic>
      </p:grpSp>
      <p:grpSp>
        <p:nvGrpSpPr>
          <p:cNvPr id="12" name="Group 11">
            <a:extLst>
              <a:ext uri="{FF2B5EF4-FFF2-40B4-BE49-F238E27FC236}">
                <a16:creationId xmlns:a16="http://schemas.microsoft.com/office/drawing/2014/main" id="{D45BF998-1317-4B06-AC2C-B8EEA6FBB2CA}"/>
              </a:ext>
            </a:extLst>
          </p:cNvPr>
          <p:cNvGrpSpPr/>
          <p:nvPr/>
        </p:nvGrpSpPr>
        <p:grpSpPr>
          <a:xfrm>
            <a:off x="1115725" y="4484581"/>
            <a:ext cx="340390" cy="400063"/>
            <a:chOff x="1115725" y="4848086"/>
            <a:chExt cx="340390" cy="400063"/>
          </a:xfrm>
        </p:grpSpPr>
        <p:sp>
          <p:nvSpPr>
            <p:cNvPr id="40" name="Oval 39">
              <a:extLst>
                <a:ext uri="{FF2B5EF4-FFF2-40B4-BE49-F238E27FC236}">
                  <a16:creationId xmlns:a16="http://schemas.microsoft.com/office/drawing/2014/main" id="{4602335E-B7FE-BC43-AD0E-63BE98713B61}"/>
                </a:ext>
              </a:extLst>
            </p:cNvPr>
            <p:cNvSpPr/>
            <p:nvPr/>
          </p:nvSpPr>
          <p:spPr>
            <a:xfrm>
              <a:off x="1124632" y="4925218"/>
              <a:ext cx="322931" cy="322931"/>
            </a:xfrm>
            <a:prstGeom prst="ellipse">
              <a:avLst/>
            </a:prstGeom>
            <a:solidFill>
              <a:srgbClr val="6C0008">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4" name="Graphic 33">
              <a:extLst>
                <a:ext uri="{FF2B5EF4-FFF2-40B4-BE49-F238E27FC236}">
                  <a16:creationId xmlns:a16="http://schemas.microsoft.com/office/drawing/2014/main" id="{C063DCBC-D0B7-EB47-8297-294B461F922F}"/>
                </a:ext>
              </a:extLst>
            </p:cNvPr>
            <p:cNvPicPr>
              <a:picLocks noChangeAspect="1"/>
            </p:cNvPicPr>
            <p:nvPr/>
          </p:nvPicPr>
          <p:blipFill>
            <a:blip r:embed="rId9">
              <a:extLst>
                <a:ext uri="{96DAC541-7B7A-43D3-8B79-37D633B846F1}">
                  <asvg:svgBlip xmlns="" xmlns:asvg="http://schemas.microsoft.com/office/drawing/2016/SVG/main" r:embed="rId10"/>
                </a:ext>
              </a:extLst>
            </a:blip>
            <a:stretch>
              <a:fillRect/>
            </a:stretch>
          </p:blipFill>
          <p:spPr>
            <a:xfrm>
              <a:off x="1115725" y="4848086"/>
              <a:ext cx="340390" cy="340390"/>
            </a:xfrm>
            <a:prstGeom prst="rect">
              <a:avLst/>
            </a:prstGeom>
          </p:spPr>
        </p:pic>
      </p:grpSp>
      <p:sp>
        <p:nvSpPr>
          <p:cNvPr id="7" name="Rectangle 6">
            <a:extLst>
              <a:ext uri="{FF2B5EF4-FFF2-40B4-BE49-F238E27FC236}">
                <a16:creationId xmlns:a16="http://schemas.microsoft.com/office/drawing/2014/main" id="{08D58C3A-4C8A-5A4A-8A87-E691ECD814BB}"/>
              </a:ext>
            </a:extLst>
          </p:cNvPr>
          <p:cNvSpPr/>
          <p:nvPr/>
        </p:nvSpPr>
        <p:spPr>
          <a:xfrm>
            <a:off x="1718018" y="2186776"/>
            <a:ext cx="2713017" cy="388568"/>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lumMod val="50000"/>
                    <a:lumOff val="50000"/>
                  </a:prstClr>
                </a:solidFill>
                <a:effectLst/>
                <a:uLnTx/>
                <a:uFillTx/>
                <a:latin typeface="Gilroy SemiBold" panose="00000700000000000000" pitchFamily="50" charset="0"/>
                <a:ea typeface="+mn-ea"/>
                <a:cs typeface="+mn-cs"/>
              </a:rPr>
              <a:t>huecu@harvard.edu</a:t>
            </a:r>
          </a:p>
        </p:txBody>
      </p:sp>
      <p:sp>
        <p:nvSpPr>
          <p:cNvPr id="8" name="Rectangle 7">
            <a:extLst>
              <a:ext uri="{FF2B5EF4-FFF2-40B4-BE49-F238E27FC236}">
                <a16:creationId xmlns:a16="http://schemas.microsoft.com/office/drawing/2014/main" id="{B738F0B9-DCB4-DF48-B916-161071496361}"/>
              </a:ext>
            </a:extLst>
          </p:cNvPr>
          <p:cNvSpPr/>
          <p:nvPr/>
        </p:nvSpPr>
        <p:spPr>
          <a:xfrm>
            <a:off x="1718017" y="2867238"/>
            <a:ext cx="2713017" cy="388568"/>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lumMod val="50000"/>
                    <a:lumOff val="50000"/>
                  </a:prstClr>
                </a:solidFill>
                <a:effectLst/>
                <a:uLnTx/>
                <a:uFillTx/>
                <a:latin typeface="Gilroy SemiBold" panose="00000700000000000000" pitchFamily="50" charset="0"/>
                <a:ea typeface="+mn-ea"/>
                <a:cs typeface="+mn-cs"/>
              </a:rPr>
              <a:t>huecu.org</a:t>
            </a:r>
          </a:p>
        </p:txBody>
      </p:sp>
      <p:sp>
        <p:nvSpPr>
          <p:cNvPr id="10" name="Rectangle 9">
            <a:extLst>
              <a:ext uri="{FF2B5EF4-FFF2-40B4-BE49-F238E27FC236}">
                <a16:creationId xmlns:a16="http://schemas.microsoft.com/office/drawing/2014/main" id="{DFD10720-C966-FD41-8AD3-9B8766B84425}"/>
              </a:ext>
            </a:extLst>
          </p:cNvPr>
          <p:cNvSpPr/>
          <p:nvPr/>
        </p:nvSpPr>
        <p:spPr>
          <a:xfrm>
            <a:off x="1718017" y="4430660"/>
            <a:ext cx="2713017" cy="703911"/>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lumMod val="50000"/>
                    <a:lumOff val="50000"/>
                  </a:prstClr>
                </a:solidFill>
                <a:effectLst/>
                <a:uLnTx/>
                <a:uFillTx/>
                <a:latin typeface="Gilroy SemiBold" panose="00000700000000000000" pitchFamily="50" charset="0"/>
                <a:ea typeface="+mn-ea"/>
                <a:cs typeface="+mn-cs"/>
              </a:rPr>
              <a:t>104 Mount Auburn Street</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lumMod val="50000"/>
                    <a:lumOff val="50000"/>
                  </a:prstClr>
                </a:solidFill>
                <a:effectLst/>
                <a:uLnTx/>
                <a:uFillTx/>
                <a:latin typeface="Gilroy SemiBold" panose="00000700000000000000" pitchFamily="50" charset="0"/>
                <a:ea typeface="+mn-ea"/>
                <a:cs typeface="+mn-cs"/>
              </a:rPr>
              <a:t>Cambridge, MA 02138</a:t>
            </a:r>
          </a:p>
        </p:txBody>
      </p:sp>
      <p:pic>
        <p:nvPicPr>
          <p:cNvPr id="6" name="Picture Placeholder 5" descr="A person smiling for the camera&#10;&#10;Description automatically generated">
            <a:extLst>
              <a:ext uri="{FF2B5EF4-FFF2-40B4-BE49-F238E27FC236}">
                <a16:creationId xmlns:a16="http://schemas.microsoft.com/office/drawing/2014/main" id="{BFC267E1-19E9-4A50-AC80-837186BD135B}"/>
              </a:ext>
            </a:extLst>
          </p:cNvPr>
          <p:cNvPicPr>
            <a:picLocks noGrp="1" noChangeAspect="1"/>
          </p:cNvPicPr>
          <p:nvPr>
            <p:ph type="pic" sz="quarter" idx="11"/>
          </p:nvPr>
        </p:nvPicPr>
        <p:blipFill rotWithShape="1">
          <a:blip r:embed="rId11"/>
          <a:srcRect l="19618" t="5063" r="25153" b="712"/>
          <a:stretch/>
        </p:blipFill>
        <p:spPr>
          <a:xfrm>
            <a:off x="5169408" y="0"/>
            <a:ext cx="7022593" cy="6858000"/>
          </a:xfrm>
          <a:noFill/>
        </p:spPr>
      </p:pic>
      <p:sp>
        <p:nvSpPr>
          <p:cNvPr id="18" name="Text Placeholder 3">
            <a:extLst>
              <a:ext uri="{FF2B5EF4-FFF2-40B4-BE49-F238E27FC236}">
                <a16:creationId xmlns:a16="http://schemas.microsoft.com/office/drawing/2014/main" id="{23E98E46-73A9-4782-B21D-55DE0CB8C81D}"/>
              </a:ext>
            </a:extLst>
          </p:cNvPr>
          <p:cNvSpPr txBox="1">
            <a:spLocks/>
          </p:cNvSpPr>
          <p:nvPr/>
        </p:nvSpPr>
        <p:spPr>
          <a:xfrm>
            <a:off x="1018189" y="489445"/>
            <a:ext cx="2745905" cy="1365814"/>
          </a:xfrm>
          <a:prstGeom prst="rect">
            <a:avLst/>
          </a:prstGeom>
        </p:spPr>
        <p:txBody>
          <a:bodyPr/>
          <a:lstStyle>
            <a:lvl1pPr marL="0" indent="0" algn="l" defTabSz="914377" rtl="0" eaLnBrk="1" latinLnBrk="0" hangingPunct="1">
              <a:lnSpc>
                <a:spcPct val="100000"/>
              </a:lnSpc>
              <a:spcBef>
                <a:spcPts val="1000"/>
              </a:spcBef>
              <a:buFont typeface="Arial" panose="020B0604020202020204" pitchFamily="34" charset="0"/>
              <a:buNone/>
              <a:defRPr sz="4400" b="1" i="0" kern="1200" spc="-150">
                <a:solidFill>
                  <a:schemeClr val="tx1"/>
                </a:solidFill>
                <a:latin typeface="Gilroy ExtraBold" panose="00000900000000000000" pitchFamily="50" charset="0"/>
                <a:ea typeface="+mn-ea"/>
                <a:cs typeface="Gilroy ExtraBold" panose="00000900000000000000" pitchFamily="50" charset="0"/>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4400" b="1" i="0" u="none" strike="noStrike" kern="1200" cap="none" spc="-150" normalizeH="0" baseline="0" noProof="0">
                <a:ln>
                  <a:noFill/>
                </a:ln>
                <a:solidFill>
                  <a:sysClr val="windowText" lastClr="000000"/>
                </a:solidFill>
                <a:effectLst/>
                <a:uLnTx/>
                <a:uFillTx/>
                <a:latin typeface="Gilroy ExtraBold" panose="00000900000000000000" pitchFamily="50" charset="0"/>
                <a:ea typeface="+mn-ea"/>
              </a:rPr>
              <a:t>Keep in </a:t>
            </a:r>
            <a:br>
              <a:rPr kumimoji="0" lang="en-US" sz="4400" b="1" i="0" u="none" strike="noStrike" kern="1200" cap="none" spc="-150" normalizeH="0" baseline="0" noProof="0">
                <a:ln>
                  <a:noFill/>
                </a:ln>
                <a:solidFill>
                  <a:sysClr val="windowText" lastClr="000000"/>
                </a:solidFill>
                <a:effectLst/>
                <a:uLnTx/>
                <a:uFillTx/>
                <a:latin typeface="Gilroy ExtraBold" panose="00000900000000000000" pitchFamily="50" charset="0"/>
                <a:ea typeface="+mn-ea"/>
              </a:rPr>
            </a:br>
            <a:r>
              <a:rPr kumimoji="0" lang="en-US" sz="4400" b="1" i="0" u="none" strike="noStrike" kern="1200" cap="none" spc="-150" normalizeH="0" baseline="0" noProof="0">
                <a:ln>
                  <a:noFill/>
                </a:ln>
                <a:solidFill>
                  <a:srgbClr val="8C2332"/>
                </a:solidFill>
                <a:effectLst/>
                <a:uLnTx/>
                <a:uFillTx/>
                <a:latin typeface="Gilroy ExtraBold" panose="00000900000000000000" pitchFamily="50" charset="0"/>
                <a:ea typeface="+mn-ea"/>
              </a:rPr>
              <a:t>Touch</a:t>
            </a:r>
            <a:endParaRPr kumimoji="0" lang="en-US" sz="4400" b="1" i="0" u="none" strike="noStrike" kern="1200" cap="none" spc="-150" normalizeH="0" baseline="0" noProof="0">
              <a:ln>
                <a:noFill/>
              </a:ln>
              <a:solidFill>
                <a:sysClr val="windowText" lastClr="000000"/>
              </a:solidFill>
              <a:effectLst/>
              <a:uLnTx/>
              <a:uFillTx/>
              <a:latin typeface="Gilroy ExtraBold" panose="00000900000000000000" pitchFamily="50" charset="0"/>
              <a:ea typeface="+mn-ea"/>
            </a:endParaRPr>
          </a:p>
        </p:txBody>
      </p:sp>
      <p:grpSp>
        <p:nvGrpSpPr>
          <p:cNvPr id="15" name="Group 14">
            <a:extLst>
              <a:ext uri="{FF2B5EF4-FFF2-40B4-BE49-F238E27FC236}">
                <a16:creationId xmlns:a16="http://schemas.microsoft.com/office/drawing/2014/main" id="{214AD237-6208-4F5E-8CAB-C4F3ECCB9EE9}"/>
              </a:ext>
            </a:extLst>
          </p:cNvPr>
          <p:cNvGrpSpPr/>
          <p:nvPr/>
        </p:nvGrpSpPr>
        <p:grpSpPr>
          <a:xfrm>
            <a:off x="1718017" y="3547700"/>
            <a:ext cx="5146607" cy="659305"/>
            <a:chOff x="1718017" y="3881745"/>
            <a:chExt cx="5146607" cy="659305"/>
          </a:xfrm>
        </p:grpSpPr>
        <p:sp>
          <p:nvSpPr>
            <p:cNvPr id="9" name="Rectangle 8">
              <a:extLst>
                <a:ext uri="{FF2B5EF4-FFF2-40B4-BE49-F238E27FC236}">
                  <a16:creationId xmlns:a16="http://schemas.microsoft.com/office/drawing/2014/main" id="{2E9F6663-B4C9-DA4C-8AE4-3591E97D2D88}"/>
                </a:ext>
              </a:extLst>
            </p:cNvPr>
            <p:cNvSpPr/>
            <p:nvPr/>
          </p:nvSpPr>
          <p:spPr>
            <a:xfrm>
              <a:off x="1718017" y="3881745"/>
              <a:ext cx="2713017" cy="388568"/>
            </a:xfrm>
            <a:prstGeom prst="rect">
              <a:avLst/>
            </a:prstGeom>
          </p:spPr>
          <p:txBody>
            <a:bodyPr wrap="squar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lumMod val="50000"/>
                      <a:lumOff val="50000"/>
                    </a:prstClr>
                  </a:solidFill>
                  <a:effectLst/>
                  <a:uLnTx/>
                  <a:uFillTx/>
                  <a:latin typeface="Gilroy SemiBold" panose="00000700000000000000" pitchFamily="50" charset="0"/>
                  <a:ea typeface="+mn-ea"/>
                  <a:cs typeface="+mn-cs"/>
                </a:rPr>
                <a:t>@myHUECU</a:t>
              </a:r>
            </a:p>
          </p:txBody>
        </p:sp>
        <p:sp>
          <p:nvSpPr>
            <p:cNvPr id="19" name="Rectangle 18">
              <a:extLst>
                <a:ext uri="{FF2B5EF4-FFF2-40B4-BE49-F238E27FC236}">
                  <a16:creationId xmlns:a16="http://schemas.microsoft.com/office/drawing/2014/main" id="{7BAE26E3-F37C-4811-B5B2-434C11D48135}"/>
                </a:ext>
              </a:extLst>
            </p:cNvPr>
            <p:cNvSpPr/>
            <p:nvPr/>
          </p:nvSpPr>
          <p:spPr>
            <a:xfrm>
              <a:off x="1718017" y="4279440"/>
              <a:ext cx="5146607"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lumMod val="65000"/>
                      <a:lumOff val="35000"/>
                    </a:prstClr>
                  </a:solidFill>
                  <a:effectLst/>
                  <a:uLnTx/>
                  <a:uFillTx/>
                  <a:latin typeface="Gilroy SemiBold" panose="00000700000000000000" pitchFamily="50" charset="0"/>
                  <a:ea typeface="+mn-ea"/>
                  <a:cs typeface="+mn-cs"/>
                </a:rPr>
                <a:t>Find us on all social channels</a:t>
              </a:r>
              <a:endParaRPr kumimoji="0" lang="en-US" sz="1050" b="1" i="0" u="none" strike="noStrike" kern="1200" cap="none" spc="0" normalizeH="0" baseline="0" noProof="0">
                <a:ln>
                  <a:noFill/>
                </a:ln>
                <a:solidFill>
                  <a:prstClr val="black">
                    <a:lumMod val="65000"/>
                    <a:lumOff val="35000"/>
                  </a:prstClr>
                </a:solidFill>
                <a:effectLst/>
                <a:uLnTx/>
                <a:uFillTx/>
                <a:latin typeface="Gilroy Bold" panose="00000800000000000000" pitchFamily="50" charset="0"/>
                <a:ea typeface="+mn-ea"/>
                <a:cs typeface="+mn-cs"/>
              </a:endParaRPr>
            </a:p>
          </p:txBody>
        </p:sp>
      </p:grpSp>
      <p:pic>
        <p:nvPicPr>
          <p:cNvPr id="20" name="Picture 19" descr="A close up of a logo&#10;&#10;Description automatically generated">
            <a:extLst>
              <a:ext uri="{FF2B5EF4-FFF2-40B4-BE49-F238E27FC236}">
                <a16:creationId xmlns:a16="http://schemas.microsoft.com/office/drawing/2014/main" id="{0A2D7E99-C1D7-41C0-ADB9-AC953D64FB23}"/>
              </a:ext>
            </a:extLst>
          </p:cNvPr>
          <p:cNvPicPr>
            <a:picLocks noChangeAspect="1"/>
          </p:cNvPicPr>
          <p:nvPr/>
        </p:nvPicPr>
        <p:blipFill>
          <a:blip r:embed="rId12"/>
          <a:stretch>
            <a:fillRect/>
          </a:stretch>
        </p:blipFill>
        <p:spPr>
          <a:xfrm>
            <a:off x="1072895" y="5854656"/>
            <a:ext cx="2515737" cy="505046"/>
          </a:xfrm>
          <a:prstGeom prst="rect">
            <a:avLst/>
          </a:prstGeom>
        </p:spPr>
      </p:pic>
    </p:spTree>
    <p:extLst>
      <p:ext uri="{BB962C8B-B14F-4D97-AF65-F5344CB8AC3E}">
        <p14:creationId xmlns:p14="http://schemas.microsoft.com/office/powerpoint/2010/main" val="18394518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FED33BA-F64F-FF08-3DC2-42D76A3EC3D4}"/>
              </a:ext>
            </a:extLst>
          </p:cNvPr>
          <p:cNvGrpSpPr/>
          <p:nvPr/>
        </p:nvGrpSpPr>
        <p:grpSpPr>
          <a:xfrm>
            <a:off x="1186568" y="1458116"/>
            <a:ext cx="10715989" cy="3941767"/>
            <a:chOff x="973208" y="1458117"/>
            <a:chExt cx="10715989" cy="3941767"/>
          </a:xfrm>
        </p:grpSpPr>
        <p:sp>
          <p:nvSpPr>
            <p:cNvPr id="9" name="Text Placeholder 2"/>
            <p:cNvSpPr txBox="1">
              <a:spLocks/>
            </p:cNvSpPr>
            <p:nvPr/>
          </p:nvSpPr>
          <p:spPr>
            <a:xfrm>
              <a:off x="5157979" y="3194787"/>
              <a:ext cx="6189907" cy="2205097"/>
            </a:xfrm>
            <a:prstGeom prst="rect">
              <a:avLst/>
            </a:prstGeom>
          </p:spPr>
          <p:txBody>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dirty="0">
                  <a:solidFill>
                    <a:srgbClr val="FFFFFF"/>
                  </a:solidFill>
                  <a:latin typeface="Century Gothic" panose="020B0502020202020204" pitchFamily="34" charset="0"/>
                </a:rPr>
                <a:t>is a national non-profit that provides financial education and tools to empower people to lead </a:t>
              </a:r>
              <a:r>
                <a:rPr lang="en-US" b="1" i="1" dirty="0">
                  <a:solidFill>
                    <a:schemeClr val="tx2"/>
                  </a:solidFill>
                  <a:latin typeface="Century Gothic" panose="020B0502020202020204" pitchFamily="34" charset="0"/>
                </a:rPr>
                <a:t>financially healthy lives. </a:t>
              </a:r>
            </a:p>
          </p:txBody>
        </p:sp>
        <p:sp>
          <p:nvSpPr>
            <p:cNvPr id="10" name="TextBox 9">
              <a:extLst>
                <a:ext uri="{FF2B5EF4-FFF2-40B4-BE49-F238E27FC236}">
                  <a16:creationId xmlns:a16="http://schemas.microsoft.com/office/drawing/2014/main" id="{354507D8-2A10-4B23-94A6-0401BDA1E526}"/>
                </a:ext>
              </a:extLst>
            </p:cNvPr>
            <p:cNvSpPr txBox="1"/>
            <p:nvPr/>
          </p:nvSpPr>
          <p:spPr>
            <a:xfrm>
              <a:off x="5157978" y="1748237"/>
              <a:ext cx="6531219" cy="1384995"/>
            </a:xfrm>
            <a:prstGeom prst="rect">
              <a:avLst/>
            </a:prstGeom>
            <a:noFill/>
          </p:spPr>
          <p:txBody>
            <a:bodyPr wrap="square" rtlCol="0">
              <a:spAutoFit/>
            </a:bodyPr>
            <a:lstStyle/>
            <a:p>
              <a:r>
                <a:rPr lang="en-US" sz="4800" b="1" spc="600" dirty="0">
                  <a:solidFill>
                    <a:srgbClr val="FFFFFF"/>
                  </a:solidFill>
                  <a:latin typeface="Century Gothic" panose="020B0502020202020204" pitchFamily="34" charset="0"/>
                </a:rPr>
                <a:t>GREENPATH</a:t>
              </a:r>
              <a:br>
                <a:rPr lang="en-US" sz="4800" b="1" spc="600" dirty="0">
                  <a:solidFill>
                    <a:srgbClr val="FFFFFF"/>
                  </a:solidFill>
                  <a:latin typeface="Century Gothic" panose="020B0502020202020204" pitchFamily="34" charset="0"/>
                </a:rPr>
              </a:br>
              <a:r>
                <a:rPr lang="en-US" sz="3600" b="1" spc="600" dirty="0">
                  <a:solidFill>
                    <a:srgbClr val="FFFFFF"/>
                  </a:solidFill>
                  <a:latin typeface="Century Gothic" panose="020B0502020202020204" pitchFamily="34" charset="0"/>
                </a:rPr>
                <a:t>FINANCIAL WELLNESS</a:t>
              </a:r>
              <a:endParaRPr lang="en-US" sz="4000" b="1" spc="600" dirty="0">
                <a:solidFill>
                  <a:srgbClr val="FFFFFF"/>
                </a:solidFill>
                <a:latin typeface="Century Gothic" panose="020B0502020202020204" pitchFamily="34" charset="0"/>
              </a:endParaRPr>
            </a:p>
          </p:txBody>
        </p:sp>
        <p:grpSp>
          <p:nvGrpSpPr>
            <p:cNvPr id="12" name="Group 11">
              <a:extLst>
                <a:ext uri="{FF2B5EF4-FFF2-40B4-BE49-F238E27FC236}">
                  <a16:creationId xmlns:a16="http://schemas.microsoft.com/office/drawing/2014/main" id="{48CF9F59-12CE-26C7-73F3-7308AC04E4E7}"/>
                </a:ext>
              </a:extLst>
            </p:cNvPr>
            <p:cNvGrpSpPr/>
            <p:nvPr/>
          </p:nvGrpSpPr>
          <p:grpSpPr>
            <a:xfrm>
              <a:off x="973208" y="1458117"/>
              <a:ext cx="3538039" cy="3941766"/>
              <a:chOff x="4633438" y="1242102"/>
              <a:chExt cx="2281340" cy="2646354"/>
            </a:xfrm>
          </p:grpSpPr>
          <p:pic>
            <p:nvPicPr>
              <p:cNvPr id="13" name="Picture 12">
                <a:extLst>
                  <a:ext uri="{FF2B5EF4-FFF2-40B4-BE49-F238E27FC236}">
                    <a16:creationId xmlns:a16="http://schemas.microsoft.com/office/drawing/2014/main" id="{FCAC684F-9E27-A43F-A7FE-AF11B7CE308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77317" y="2030398"/>
                <a:ext cx="1793582" cy="1069762"/>
              </a:xfrm>
              <a:prstGeom prst="rect">
                <a:avLst/>
              </a:prstGeom>
            </p:spPr>
          </p:pic>
          <p:sp>
            <p:nvSpPr>
              <p:cNvPr id="14" name="Hexagon 13">
                <a:extLst>
                  <a:ext uri="{FF2B5EF4-FFF2-40B4-BE49-F238E27FC236}">
                    <a16:creationId xmlns:a16="http://schemas.microsoft.com/office/drawing/2014/main" id="{F20D3A82-E54C-55D3-EFA1-C4623815406E}"/>
                  </a:ext>
                </a:extLst>
              </p:cNvPr>
              <p:cNvSpPr/>
              <p:nvPr/>
            </p:nvSpPr>
            <p:spPr>
              <a:xfrm rot="16200000">
                <a:off x="4450931" y="1424609"/>
                <a:ext cx="2646354" cy="2281340"/>
              </a:xfrm>
              <a:prstGeom prst="hexagon">
                <a:avLst/>
              </a:prstGeom>
              <a:noFill/>
              <a:ln w="2159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Tree>
    <p:custDataLst>
      <p:tags r:id="rId1"/>
    </p:custDataLst>
    <p:extLst>
      <p:ext uri="{BB962C8B-B14F-4D97-AF65-F5344CB8AC3E}">
        <p14:creationId xmlns:p14="http://schemas.microsoft.com/office/powerpoint/2010/main" val="3767802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2192111"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Agenda</a:t>
            </a:r>
          </a:p>
        </p:txBody>
      </p:sp>
      <p:sp>
        <p:nvSpPr>
          <p:cNvPr id="6" name="TextBox 5">
            <a:extLst>
              <a:ext uri="{FF2B5EF4-FFF2-40B4-BE49-F238E27FC236}">
                <a16:creationId xmlns:a16="http://schemas.microsoft.com/office/drawing/2014/main" id="{F34677DF-7F7B-E6B4-C6D4-7905060276D6}"/>
              </a:ext>
            </a:extLst>
          </p:cNvPr>
          <p:cNvSpPr txBox="1"/>
          <p:nvPr/>
        </p:nvSpPr>
        <p:spPr>
          <a:xfrm>
            <a:off x="3048000" y="1823357"/>
            <a:ext cx="3068469" cy="523220"/>
          </a:xfrm>
          <a:prstGeom prst="rect">
            <a:avLst/>
          </a:prstGeom>
          <a:noFill/>
        </p:spPr>
        <p:txBody>
          <a:bodyPr wrap="none" rtlCol="0">
            <a:spAutoFit/>
          </a:bodyPr>
          <a:lstStyle/>
          <a:p>
            <a:pPr marL="285750" indent="-285750">
              <a:buFont typeface="Arial" panose="020B0604020202020204" pitchFamily="34" charset="0"/>
              <a:buChar char="•"/>
            </a:pPr>
            <a:r>
              <a:rPr lang="en-US" sz="2800" dirty="0">
                <a:solidFill>
                  <a:srgbClr val="FFFFFF"/>
                </a:solidFill>
                <a:latin typeface="Century Gothic" panose="020B0502020202020204" pitchFamily="34" charset="0"/>
              </a:rPr>
              <a:t>Basics of credit</a:t>
            </a:r>
          </a:p>
        </p:txBody>
      </p:sp>
    </p:spTree>
    <p:extLst>
      <p:ext uri="{BB962C8B-B14F-4D97-AF65-F5344CB8AC3E}">
        <p14:creationId xmlns:p14="http://schemas.microsoft.com/office/powerpoint/2010/main" val="32160094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CECEB0-E70C-686A-8D37-2E6D6F38C7CC}"/>
              </a:ext>
            </a:extLst>
          </p:cNvPr>
          <p:cNvSpPr/>
          <p:nvPr/>
        </p:nvSpPr>
        <p:spPr>
          <a:xfrm>
            <a:off x="0" y="571500"/>
            <a:ext cx="6096000" cy="800100"/>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600" b="1" dirty="0">
              <a:latin typeface="Century Gothic" panose="020B0502020202020204" pitchFamily="34" charset="0"/>
            </a:endParaRPr>
          </a:p>
        </p:txBody>
      </p:sp>
      <p:sp>
        <p:nvSpPr>
          <p:cNvPr id="4" name="TextBox 3">
            <a:extLst>
              <a:ext uri="{FF2B5EF4-FFF2-40B4-BE49-F238E27FC236}">
                <a16:creationId xmlns:a16="http://schemas.microsoft.com/office/drawing/2014/main" id="{D30570C5-0816-BF82-5093-91D1324C628E}"/>
              </a:ext>
            </a:extLst>
          </p:cNvPr>
          <p:cNvSpPr txBox="1"/>
          <p:nvPr/>
        </p:nvSpPr>
        <p:spPr>
          <a:xfrm>
            <a:off x="453118" y="648384"/>
            <a:ext cx="2192111" cy="646331"/>
          </a:xfrm>
          <a:prstGeom prst="rect">
            <a:avLst/>
          </a:prstGeom>
          <a:noFill/>
        </p:spPr>
        <p:txBody>
          <a:bodyPr wrap="square">
            <a:spAutoFit/>
          </a:bodyPr>
          <a:lstStyle/>
          <a:p>
            <a:r>
              <a:rPr lang="en-US" sz="3600" b="1" dirty="0">
                <a:solidFill>
                  <a:srgbClr val="FFFFFF"/>
                </a:solidFill>
                <a:latin typeface="Century Gothic" panose="020B0502020202020204" pitchFamily="34" charset="0"/>
              </a:rPr>
              <a:t>Agenda</a:t>
            </a:r>
          </a:p>
        </p:txBody>
      </p:sp>
      <p:sp>
        <p:nvSpPr>
          <p:cNvPr id="6" name="TextBox 5">
            <a:extLst>
              <a:ext uri="{FF2B5EF4-FFF2-40B4-BE49-F238E27FC236}">
                <a16:creationId xmlns:a16="http://schemas.microsoft.com/office/drawing/2014/main" id="{4CB35845-2138-1CA9-0246-371E63BF6C12}"/>
              </a:ext>
            </a:extLst>
          </p:cNvPr>
          <p:cNvSpPr txBox="1"/>
          <p:nvPr/>
        </p:nvSpPr>
        <p:spPr>
          <a:xfrm>
            <a:off x="3048000" y="1823357"/>
            <a:ext cx="4458272" cy="1815882"/>
          </a:xfrm>
          <a:prstGeom prst="rect">
            <a:avLst/>
          </a:prstGeom>
          <a:noFill/>
        </p:spPr>
        <p:txBody>
          <a:bodyPr wrap="none" rtlCol="0">
            <a:spAutoFit/>
          </a:bodyPr>
          <a:lstStyle/>
          <a:p>
            <a:pPr marL="285750" indent="-285750">
              <a:buFont typeface="Arial" panose="020B0604020202020204" pitchFamily="34" charset="0"/>
              <a:buChar char="•"/>
            </a:pPr>
            <a:r>
              <a:rPr lang="en-US" sz="2800" dirty="0">
                <a:solidFill>
                  <a:srgbClr val="FFFFFF">
                    <a:alpha val="30000"/>
                  </a:srgbClr>
                </a:solidFill>
                <a:latin typeface="Century Gothic" panose="020B0502020202020204" pitchFamily="34" charset="0"/>
              </a:rPr>
              <a:t>Basics of credit</a:t>
            </a:r>
          </a:p>
          <a:p>
            <a:pPr marL="285750" indent="-285750">
              <a:buFont typeface="Arial" panose="020B0604020202020204" pitchFamily="34" charset="0"/>
              <a:buChar char="•"/>
            </a:pPr>
            <a:endParaRPr lang="en-US" sz="2800" dirty="0">
              <a:solidFill>
                <a:srgbClr val="FFFFFF"/>
              </a:solidFill>
              <a:latin typeface="Century Gothic" panose="020B0502020202020204" pitchFamily="34" charset="0"/>
            </a:endParaRPr>
          </a:p>
          <a:p>
            <a:pPr marL="285750" indent="-285750">
              <a:buFont typeface="Arial" panose="020B0604020202020204" pitchFamily="34" charset="0"/>
              <a:buChar char="•"/>
            </a:pPr>
            <a:r>
              <a:rPr lang="en-US" sz="2800" dirty="0">
                <a:solidFill>
                  <a:srgbClr val="FFFFFF"/>
                </a:solidFill>
                <a:latin typeface="Century Gothic" panose="020B0502020202020204" pitchFamily="34" charset="0"/>
              </a:rPr>
              <a:t>Why credit is important</a:t>
            </a:r>
          </a:p>
          <a:p>
            <a:endParaRPr lang="en-US" sz="2800" dirty="0">
              <a:solidFill>
                <a:srgbClr val="FFFFFF"/>
              </a:solidFill>
              <a:latin typeface="Century Gothic" panose="020B0502020202020204" pitchFamily="34" charset="0"/>
            </a:endParaRPr>
          </a:p>
        </p:txBody>
      </p:sp>
    </p:spTree>
    <p:extLst>
      <p:ext uri="{BB962C8B-B14F-4D97-AF65-F5344CB8AC3E}">
        <p14:creationId xmlns:p14="http://schemas.microsoft.com/office/powerpoint/2010/main" val="623495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 name="ARTICULATE_DESIGN_ID_1_OFFICE THEME" val="XAv6rhxJ"/>
  <p:tag name="ARTICULATE_PROJECT_OPEN" val="0"/>
  <p:tag name="ARTICULATE_SLIDE_COUNT" val="18"/>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NAV_LEVEL" val="1"/>
  <p:tag name="ARTICULATE_TOC_EXPANDED" val="True"/>
  <p:tag name="ARTICULATE_SLIDE_PRESENTER_GUID" val="abd32871-db53-4186-b213-23de2e1f95d2"/>
  <p:tag name="ARTICULATE_SLIDE_PAUSE" val="1"/>
  <p:tag name="ARTICULATE_HIDE_SLIDE" val="0"/>
  <p:tag name="ARTICULATE_PLAYER_CONTROL_PREVIOUS" val="False"/>
  <p:tag name="ARTICULATE_PLAYER_CONTROL_NEXT" val="True"/>
  <p:tag name="AUDIO_ID" val="259"/>
  <p:tag name="ARTICULATE_USED_LAYOUT" val="7"/>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NAV_LEVEL" val="1"/>
  <p:tag name="ARTICULATE_TOC_EXPANDED" val="True"/>
  <p:tag name="ARTICULATE_SLIDE_PRESENTER_GUID" val="abd32871-db53-4186-b213-23de2e1f95d2"/>
  <p:tag name="ARTICULATE_SLIDE_PAUSE" val="1"/>
  <p:tag name="ARTICULATE_HIDE_SLIDE" val="0"/>
  <p:tag name="ARTICULATE_PLAYER_CONTROL_PREVIOUS" val="True"/>
  <p:tag name="ARTICULATE_PLAYER_CONTROL_NEXT" val="True"/>
  <p:tag name="AUDIO_ID" val="256"/>
  <p:tag name="ARTICULATE_USED_LAYOUT" val="7"/>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NAV_LEVEL" val="1"/>
  <p:tag name="ARTICULATE_TOC_EXPANDED" val="True"/>
  <p:tag name="ARTICULATE_SLIDE_PRESENTER_GUID" val="abd32871-db53-4186-b213-23de2e1f95d2"/>
  <p:tag name="ARTICULATE_SLIDE_PAUSE" val="1"/>
  <p:tag name="ARTICULATE_HIDE_SLIDE" val="0"/>
  <p:tag name="ARTICULATE_PLAYER_CONTROL_PREVIOUS" val="True"/>
  <p:tag name="ARTICULATE_PLAYER_CONTROL_NEXT" val="True"/>
  <p:tag name="AUDIO_ID" val="256"/>
  <p:tag name="ARTICULATE_USED_LAYOUT" val="7"/>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NAV_LEVEL" val="1"/>
  <p:tag name="ARTICULATE_TOC_EXPANDED" val="True"/>
  <p:tag name="ARTICULATE_SLIDE_PRESENTER_GUID" val="abd32871-db53-4186-b213-23de2e1f95d2"/>
  <p:tag name="ARTICULATE_SLIDE_PAUSE" val="1"/>
  <p:tag name="ARTICULATE_HIDE_SLIDE" val="0"/>
  <p:tag name="ARTICULATE_PLAYER_CONTROL_PREVIOUS" val="True"/>
  <p:tag name="ARTICULATE_PLAYER_CONTROL_NEXT" val="True"/>
  <p:tag name="AUDIO_ID" val="257"/>
  <p:tag name="ARTICULATE_USED_LAYOUT" val="7"/>
  <p:tag name="ARTICULATE_SLIDE_THUMBNAIL_REFRESH" val="1"/>
</p:tagLst>
</file>

<file path=ppt/theme/theme1.xml><?xml version="1.0" encoding="utf-8"?>
<a:theme xmlns:a="http://schemas.openxmlformats.org/drawingml/2006/main" name="1_Office Theme">
  <a:themeElements>
    <a:clrScheme name="Custom 7">
      <a:dk1>
        <a:sysClr val="windowText" lastClr="000000"/>
      </a:dk1>
      <a:lt1>
        <a:srgbClr val="F3F3F3"/>
      </a:lt1>
      <a:dk2>
        <a:srgbClr val="88C040"/>
      </a:dk2>
      <a:lt2>
        <a:srgbClr val="EB7125"/>
      </a:lt2>
      <a:accent1>
        <a:srgbClr val="572C5F"/>
      </a:accent1>
      <a:accent2>
        <a:srgbClr val="E8AF28"/>
      </a:accent2>
      <a:accent3>
        <a:srgbClr val="1E575C"/>
      </a:accent3>
      <a:accent4>
        <a:srgbClr val="6AC1A6"/>
      </a:accent4>
      <a:accent5>
        <a:srgbClr val="CF7128"/>
      </a:accent5>
      <a:accent6>
        <a:srgbClr val="CA5D4E"/>
      </a:accent6>
      <a:hlink>
        <a:srgbClr val="6AC1A6"/>
      </a:hlink>
      <a:folHlink>
        <a:srgbClr val="6AC1A6"/>
      </a:folHlink>
    </a:clrScheme>
    <a:fontScheme name="GreenPath">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EX_PPT_Skeleton__2020" id="{470202E6-997A-4721-ADA5-31FA6EA35143}" vid="{B3BC0EAC-7AAD-4B8F-A2F6-863B05133143}"/>
    </a:ext>
  </a:extLst>
</a:theme>
</file>

<file path=ppt/theme/theme2.xml><?xml version="1.0" encoding="utf-8"?>
<a:theme xmlns:a="http://schemas.openxmlformats.org/drawingml/2006/main" name="Office Theme">
  <a:themeElements>
    <a:clrScheme name="Custom 73">
      <a:dk1>
        <a:sysClr val="windowText" lastClr="000000"/>
      </a:dk1>
      <a:lt1>
        <a:sysClr val="window" lastClr="FFFFFF"/>
      </a:lt1>
      <a:dk2>
        <a:srgbClr val="44546A"/>
      </a:dk2>
      <a:lt2>
        <a:srgbClr val="E7E6E6"/>
      </a:lt2>
      <a:accent1>
        <a:srgbClr val="C4EEF2"/>
      </a:accent1>
      <a:accent2>
        <a:srgbClr val="9CD3D9"/>
      </a:accent2>
      <a:accent3>
        <a:srgbClr val="387373"/>
      </a:accent3>
      <a:accent4>
        <a:srgbClr val="022E40"/>
      </a:accent4>
      <a:accent5>
        <a:srgbClr val="F2E4C9"/>
      </a:accent5>
      <a:accent6>
        <a:srgbClr val="FFFFF5"/>
      </a:accent6>
      <a:hlink>
        <a:srgbClr val="0563C1"/>
      </a:hlink>
      <a:folHlink>
        <a:srgbClr val="954F72"/>
      </a:folHlink>
    </a:clrScheme>
    <a:fontScheme name="Custom 114">
      <a:majorFont>
        <a:latin typeface="Bodoni MT"/>
        <a:ea typeface=""/>
        <a:cs typeface=""/>
      </a:majorFont>
      <a:minorFont>
        <a:latin typeface="Source Sans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1628</TotalTime>
  <Words>7122</Words>
  <Application>Microsoft Office PowerPoint</Application>
  <PresentationFormat>Widescreen</PresentationFormat>
  <Paragraphs>505</Paragraphs>
  <Slides>65</Slides>
  <Notes>61</Notes>
  <HiddenSlides>0</HiddenSlides>
  <MMClips>0</MMClips>
  <ScaleCrop>false</ScaleCrop>
  <HeadingPairs>
    <vt:vector size="8" baseType="variant">
      <vt:variant>
        <vt:lpstr>Fonts Used</vt:lpstr>
      </vt:variant>
      <vt:variant>
        <vt:i4>17</vt:i4>
      </vt:variant>
      <vt:variant>
        <vt:lpstr>Theme</vt:lpstr>
      </vt:variant>
      <vt:variant>
        <vt:i4>2</vt:i4>
      </vt:variant>
      <vt:variant>
        <vt:lpstr>Embedded OLE Servers</vt:lpstr>
      </vt:variant>
      <vt:variant>
        <vt:i4>1</vt:i4>
      </vt:variant>
      <vt:variant>
        <vt:lpstr>Slide Titles</vt:lpstr>
      </vt:variant>
      <vt:variant>
        <vt:i4>65</vt:i4>
      </vt:variant>
    </vt:vector>
  </HeadingPairs>
  <TitlesOfParts>
    <vt:vector size="85" baseType="lpstr">
      <vt:lpstr>Klinic Slab Bold</vt:lpstr>
      <vt:lpstr>Bodoni MT</vt:lpstr>
      <vt:lpstr>Palatino Linotype</vt:lpstr>
      <vt:lpstr>Calibri</vt:lpstr>
      <vt:lpstr>Open Sans</vt:lpstr>
      <vt:lpstr>Century Gothic</vt:lpstr>
      <vt:lpstr>Gilroy ExtraBold</vt:lpstr>
      <vt:lpstr>Poppins SemiBold</vt:lpstr>
      <vt:lpstr>Gilroy Bold</vt:lpstr>
      <vt:lpstr>Wingdings</vt:lpstr>
      <vt:lpstr>Arial Black</vt:lpstr>
      <vt:lpstr>Klinic Slab Book</vt:lpstr>
      <vt:lpstr>Gilroy SemiBold</vt:lpstr>
      <vt:lpstr>Source Sans Pro Light</vt:lpstr>
      <vt:lpstr>Klinic Slab Medium</vt:lpstr>
      <vt:lpstr>Arial</vt:lpstr>
      <vt:lpstr>Gilroy SemiBold Italic</vt:lpstr>
      <vt:lpstr>1_Office Theme</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Greenpath,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ryant, Katherine</dc:creator>
  <cp:lastModifiedBy>Ty Robinson</cp:lastModifiedBy>
  <cp:revision>97</cp:revision>
  <dcterms:created xsi:type="dcterms:W3CDTF">2021-03-04T20:56:31Z</dcterms:created>
  <dcterms:modified xsi:type="dcterms:W3CDTF">2024-01-16T16:01: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A56BCEDC-B169-447B-89B6-D81BB550AF75</vt:lpwstr>
  </property>
  <property fmtid="{D5CDD505-2E9C-101B-9397-08002B2CF9AE}" pid="3" name="ArticulatePath">
    <vt:lpwstr>Presentation2</vt:lpwstr>
  </property>
</Properties>
</file>